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37.xml" ContentType="application/vnd.openxmlformats-officedocument.presentationml.tags+xml"/>
  <Override PartName="/ppt/theme/theme7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0" r:id="rId1"/>
    <p:sldMasterId id="2147483725" r:id="rId2"/>
    <p:sldMasterId id="2147483713" r:id="rId3"/>
    <p:sldMasterId id="2147483737" r:id="rId4"/>
    <p:sldMasterId id="2147483749" r:id="rId5"/>
    <p:sldMasterId id="2147483699" r:id="rId6"/>
  </p:sldMasterIdLst>
  <p:notesMasterIdLst>
    <p:notesMasterId r:id="rId24"/>
  </p:notesMasterIdLst>
  <p:sldIdLst>
    <p:sldId id="2145705802" r:id="rId7"/>
    <p:sldId id="2145705808" r:id="rId8"/>
    <p:sldId id="2145705798" r:id="rId9"/>
    <p:sldId id="2145705824" r:id="rId10"/>
    <p:sldId id="2145705814" r:id="rId11"/>
    <p:sldId id="2145705810" r:id="rId12"/>
    <p:sldId id="2145705815" r:id="rId13"/>
    <p:sldId id="2145705816" r:id="rId14"/>
    <p:sldId id="2145705817" r:id="rId15"/>
    <p:sldId id="2145705811" r:id="rId16"/>
    <p:sldId id="2145705818" r:id="rId17"/>
    <p:sldId id="2145705823" r:id="rId18"/>
    <p:sldId id="2145705812" r:id="rId19"/>
    <p:sldId id="2145705819" r:id="rId20"/>
    <p:sldId id="2145705821" r:id="rId21"/>
    <p:sldId id="2145705813" r:id="rId22"/>
    <p:sldId id="2145705797" r:id="rId23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a Zihn" initials="NZ" lastIdx="1" clrIdx="0">
    <p:extLst>
      <p:ext uri="{19B8F6BF-5375-455C-9EA6-DF929625EA0E}">
        <p15:presenceInfo xmlns:p15="http://schemas.microsoft.com/office/powerpoint/2012/main" userId="S::nora@clevisresearch.onmicrosoft.com::d972c7eb-b4b8-4979-8222-7bb3a4a94a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42C58"/>
    <a:srgbClr val="E6E6E6"/>
    <a:srgbClr val="000000"/>
    <a:srgbClr val="282827"/>
    <a:srgbClr val="FFA152"/>
    <a:srgbClr val="E21B4B"/>
    <a:srgbClr val="25D07B"/>
    <a:srgbClr val="006B6B"/>
    <a:srgbClr val="D138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A29AFE-A7B3-4773-8BB8-56487809D711}" v="3026" dt="2023-11-22T13:09:39.5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52" autoAdjust="0"/>
    <p:restoredTop sz="76966" autoAdjust="0"/>
  </p:normalViewPr>
  <p:slideViewPr>
    <p:cSldViewPr snapToGrid="0">
      <p:cViewPr>
        <p:scale>
          <a:sx n="67" d="100"/>
          <a:sy n="67" d="100"/>
        </p:scale>
        <p:origin x="504" y="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11280"/>
    </p:cViewPr>
  </p:sorterViewPr>
  <p:notesViewPr>
    <p:cSldViewPr snapToGrid="0">
      <p:cViewPr varScale="1">
        <p:scale>
          <a:sx n="114" d="100"/>
          <a:sy n="114" d="100"/>
        </p:scale>
        <p:origin x="4264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Gauditz" userId="6095a0c5228b3b8d" providerId="LiveId" clId="{B2A29AFE-A7B3-4773-8BB8-56487809D711}"/>
    <pc:docChg chg="undo redo custSel addSld delSld modSld sldOrd modMainMaster">
      <pc:chgData name="Hannah Gauditz" userId="6095a0c5228b3b8d" providerId="LiveId" clId="{B2A29AFE-A7B3-4773-8BB8-56487809D711}" dt="2023-11-22T13:09:39.541" v="17763" actId="20577"/>
      <pc:docMkLst>
        <pc:docMk/>
      </pc:docMkLst>
      <pc:sldChg chg="delSp modSp del mod ord modTransition modAnim">
        <pc:chgData name="Hannah Gauditz" userId="6095a0c5228b3b8d" providerId="LiveId" clId="{B2A29AFE-A7B3-4773-8BB8-56487809D711}" dt="2023-11-21T20:34:00.579" v="15058" actId="47"/>
        <pc:sldMkLst>
          <pc:docMk/>
          <pc:sldMk cId="2431061072" sldId="2145705637"/>
        </pc:sldMkLst>
        <pc:spChg chg="del mod">
          <ac:chgData name="Hannah Gauditz" userId="6095a0c5228b3b8d" providerId="LiveId" clId="{B2A29AFE-A7B3-4773-8BB8-56487809D711}" dt="2023-11-18T16:20:12.394" v="9469" actId="478"/>
          <ac:spMkLst>
            <pc:docMk/>
            <pc:sldMk cId="2431061072" sldId="2145705637"/>
            <ac:spMk id="2" creationId="{33C5060F-F060-0CA1-CFD2-A1E234C35295}"/>
          </ac:spMkLst>
        </pc:spChg>
        <pc:spChg chg="mod">
          <ac:chgData name="Hannah Gauditz" userId="6095a0c5228b3b8d" providerId="LiveId" clId="{B2A29AFE-A7B3-4773-8BB8-56487809D711}" dt="2023-11-21T20:20:03.097" v="14574" actId="20577"/>
          <ac:spMkLst>
            <pc:docMk/>
            <pc:sldMk cId="2431061072" sldId="2145705637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1:16.484" v="9478" actId="478"/>
          <ac:spMkLst>
            <pc:docMk/>
            <pc:sldMk cId="2431061072" sldId="2145705637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11T12:22:24.693" v="1410" actId="20577"/>
          <ac:spMkLst>
            <pc:docMk/>
            <pc:sldMk cId="2431061072" sldId="2145705637"/>
            <ac:spMk id="23" creationId="{E6356551-AA76-3E09-4E57-8545FAF72C2E}"/>
          </ac:spMkLst>
        </pc:spChg>
      </pc:sldChg>
      <pc:sldChg chg="del">
        <pc:chgData name="Hannah Gauditz" userId="6095a0c5228b3b8d" providerId="LiveId" clId="{B2A29AFE-A7B3-4773-8BB8-56487809D711}" dt="2023-11-18T16:24:49.760" v="9552" actId="47"/>
        <pc:sldMkLst>
          <pc:docMk/>
          <pc:sldMk cId="503743152" sldId="2145705661"/>
        </pc:sldMkLst>
      </pc:sldChg>
      <pc:sldChg chg="del">
        <pc:chgData name="Hannah Gauditz" userId="6095a0c5228b3b8d" providerId="LiveId" clId="{B2A29AFE-A7B3-4773-8BB8-56487809D711}" dt="2023-11-18T16:24:47.153" v="9551" actId="47"/>
        <pc:sldMkLst>
          <pc:docMk/>
          <pc:sldMk cId="4271341907" sldId="2145705662"/>
        </pc:sldMkLst>
      </pc:sldChg>
      <pc:sldChg chg="del">
        <pc:chgData name="Hannah Gauditz" userId="6095a0c5228b3b8d" providerId="LiveId" clId="{B2A29AFE-A7B3-4773-8BB8-56487809D711}" dt="2023-11-11T12:07:57.552" v="758" actId="47"/>
        <pc:sldMkLst>
          <pc:docMk/>
          <pc:sldMk cId="3055433217" sldId="2145705668"/>
        </pc:sldMkLst>
      </pc:sldChg>
      <pc:sldChg chg="del">
        <pc:chgData name="Hannah Gauditz" userId="6095a0c5228b3b8d" providerId="LiveId" clId="{B2A29AFE-A7B3-4773-8BB8-56487809D711}" dt="2023-11-11T12:08:00.637" v="760" actId="47"/>
        <pc:sldMkLst>
          <pc:docMk/>
          <pc:sldMk cId="2147498302" sldId="2145705670"/>
        </pc:sldMkLst>
      </pc:sldChg>
      <pc:sldChg chg="del">
        <pc:chgData name="Hannah Gauditz" userId="6095a0c5228b3b8d" providerId="LiveId" clId="{B2A29AFE-A7B3-4773-8BB8-56487809D711}" dt="2023-11-11T12:08:01.481" v="761" actId="47"/>
        <pc:sldMkLst>
          <pc:docMk/>
          <pc:sldMk cId="3566609206" sldId="2145705671"/>
        </pc:sldMkLst>
      </pc:sldChg>
      <pc:sldChg chg="del">
        <pc:chgData name="Hannah Gauditz" userId="6095a0c5228b3b8d" providerId="LiveId" clId="{B2A29AFE-A7B3-4773-8BB8-56487809D711}" dt="2023-11-11T12:08:21.648" v="764" actId="47"/>
        <pc:sldMkLst>
          <pc:docMk/>
          <pc:sldMk cId="3976616047" sldId="2145705681"/>
        </pc:sldMkLst>
      </pc:sldChg>
      <pc:sldChg chg="del">
        <pc:chgData name="Hannah Gauditz" userId="6095a0c5228b3b8d" providerId="LiveId" clId="{B2A29AFE-A7B3-4773-8BB8-56487809D711}" dt="2023-11-11T12:08:24.208" v="767" actId="47"/>
        <pc:sldMkLst>
          <pc:docMk/>
          <pc:sldMk cId="1703389664" sldId="2145705682"/>
        </pc:sldMkLst>
      </pc:sldChg>
      <pc:sldChg chg="del">
        <pc:chgData name="Hannah Gauditz" userId="6095a0c5228b3b8d" providerId="LiveId" clId="{B2A29AFE-A7B3-4773-8BB8-56487809D711}" dt="2023-11-11T12:08:23.287" v="766" actId="47"/>
        <pc:sldMkLst>
          <pc:docMk/>
          <pc:sldMk cId="3436775494" sldId="2145705683"/>
        </pc:sldMkLst>
      </pc:sldChg>
      <pc:sldChg chg="del">
        <pc:chgData name="Hannah Gauditz" userId="6095a0c5228b3b8d" providerId="LiveId" clId="{B2A29AFE-A7B3-4773-8BB8-56487809D711}" dt="2023-11-11T12:08:22.504" v="765" actId="47"/>
        <pc:sldMkLst>
          <pc:docMk/>
          <pc:sldMk cId="2987684162" sldId="2145705684"/>
        </pc:sldMkLst>
      </pc:sldChg>
      <pc:sldChg chg="del">
        <pc:chgData name="Hannah Gauditz" userId="6095a0c5228b3b8d" providerId="LiveId" clId="{B2A29AFE-A7B3-4773-8BB8-56487809D711}" dt="2023-11-11T12:08:26.065" v="768" actId="47"/>
        <pc:sldMkLst>
          <pc:docMk/>
          <pc:sldMk cId="3844509143" sldId="2145705685"/>
        </pc:sldMkLst>
      </pc:sldChg>
      <pc:sldChg chg="delSp modSp add del mod ord">
        <pc:chgData name="Hannah Gauditz" userId="6095a0c5228b3b8d" providerId="LiveId" clId="{B2A29AFE-A7B3-4773-8BB8-56487809D711}" dt="2023-11-11T12:28:01.133" v="1806" actId="47"/>
        <pc:sldMkLst>
          <pc:docMk/>
          <pc:sldMk cId="470640085" sldId="2145705688"/>
        </pc:sldMkLst>
        <pc:spChg chg="del">
          <ac:chgData name="Hannah Gauditz" userId="6095a0c5228b3b8d" providerId="LiveId" clId="{B2A29AFE-A7B3-4773-8BB8-56487809D711}" dt="2023-11-11T12:06:50.327" v="740" actId="478"/>
          <ac:spMkLst>
            <pc:docMk/>
            <pc:sldMk cId="470640085" sldId="2145705688"/>
            <ac:spMk id="4" creationId="{5F9B00B4-5D35-9428-F400-689768E2395A}"/>
          </ac:spMkLst>
        </pc:spChg>
        <pc:spChg chg="mod">
          <ac:chgData name="Hannah Gauditz" userId="6095a0c5228b3b8d" providerId="LiveId" clId="{B2A29AFE-A7B3-4773-8BB8-56487809D711}" dt="2023-11-11T12:06:42.690" v="739" actId="20577"/>
          <ac:spMkLst>
            <pc:docMk/>
            <pc:sldMk cId="470640085" sldId="2145705688"/>
            <ac:spMk id="16" creationId="{AC10700E-6351-6EB0-3259-07A4A8BCF24C}"/>
          </ac:spMkLst>
        </pc:spChg>
        <pc:spChg chg="mod">
          <ac:chgData name="Hannah Gauditz" userId="6095a0c5228b3b8d" providerId="LiveId" clId="{B2A29AFE-A7B3-4773-8BB8-56487809D711}" dt="2023-11-11T12:07:14.051" v="757" actId="113"/>
          <ac:spMkLst>
            <pc:docMk/>
            <pc:sldMk cId="470640085" sldId="2145705688"/>
            <ac:spMk id="27" creationId="{F13CE049-57CF-568D-92EB-1712C5D4D811}"/>
          </ac:spMkLst>
        </pc:spChg>
      </pc:sldChg>
      <pc:sldChg chg="del">
        <pc:chgData name="Hannah Gauditz" userId="6095a0c5228b3b8d" providerId="LiveId" clId="{B2A29AFE-A7B3-4773-8BB8-56487809D711}" dt="2023-11-18T16:24:29.140" v="9544" actId="47"/>
        <pc:sldMkLst>
          <pc:docMk/>
          <pc:sldMk cId="3319010644" sldId="2145705692"/>
        </pc:sldMkLst>
      </pc:sldChg>
      <pc:sldChg chg="del">
        <pc:chgData name="Hannah Gauditz" userId="6095a0c5228b3b8d" providerId="LiveId" clId="{B2A29AFE-A7B3-4773-8BB8-56487809D711}" dt="2023-11-11T12:07:59.074" v="759" actId="47"/>
        <pc:sldMkLst>
          <pc:docMk/>
          <pc:sldMk cId="4012944667" sldId="2145705696"/>
        </pc:sldMkLst>
      </pc:sldChg>
      <pc:sldChg chg="add del">
        <pc:chgData name="Hannah Gauditz" userId="6095a0c5228b3b8d" providerId="LiveId" clId="{B2A29AFE-A7B3-4773-8BB8-56487809D711}" dt="2023-11-20T20:53:38.909" v="13145" actId="47"/>
        <pc:sldMkLst>
          <pc:docMk/>
          <pc:sldMk cId="1022667470" sldId="2145705722"/>
        </pc:sldMkLst>
      </pc:sldChg>
      <pc:sldChg chg="add del">
        <pc:chgData name="Hannah Gauditz" userId="6095a0c5228b3b8d" providerId="LiveId" clId="{B2A29AFE-A7B3-4773-8BB8-56487809D711}" dt="2023-11-20T20:53:37.992" v="13144" actId="47"/>
        <pc:sldMkLst>
          <pc:docMk/>
          <pc:sldMk cId="2601627678" sldId="2145705762"/>
        </pc:sldMkLst>
      </pc:sldChg>
      <pc:sldChg chg="del">
        <pc:chgData name="Hannah Gauditz" userId="6095a0c5228b3b8d" providerId="LiveId" clId="{B2A29AFE-A7B3-4773-8BB8-56487809D711}" dt="2023-11-20T20:53:36.823" v="13143" actId="47"/>
        <pc:sldMkLst>
          <pc:docMk/>
          <pc:sldMk cId="3049379752" sldId="2145705765"/>
        </pc:sldMkLst>
      </pc:sldChg>
      <pc:sldChg chg="del">
        <pc:chgData name="Hannah Gauditz" userId="6095a0c5228b3b8d" providerId="LiveId" clId="{B2A29AFE-A7B3-4773-8BB8-56487809D711}" dt="2023-11-18T16:24:45.777" v="9550" actId="47"/>
        <pc:sldMkLst>
          <pc:docMk/>
          <pc:sldMk cId="1784956018" sldId="2145705786"/>
        </pc:sldMkLst>
      </pc:sldChg>
      <pc:sldChg chg="del">
        <pc:chgData name="Hannah Gauditz" userId="6095a0c5228b3b8d" providerId="LiveId" clId="{B2A29AFE-A7B3-4773-8BB8-56487809D711}" dt="2023-11-18T16:24:40.696" v="9549" actId="47"/>
        <pc:sldMkLst>
          <pc:docMk/>
          <pc:sldMk cId="1750060982" sldId="2145705787"/>
        </pc:sldMkLst>
      </pc:sldChg>
      <pc:sldChg chg="addSp delSp modSp mod modTransition">
        <pc:chgData name="Hannah Gauditz" userId="6095a0c5228b3b8d" providerId="LiveId" clId="{B2A29AFE-A7B3-4773-8BB8-56487809D711}" dt="2023-11-22T13:05:13.673" v="17723"/>
        <pc:sldMkLst>
          <pc:docMk/>
          <pc:sldMk cId="667523675" sldId="2145705797"/>
        </pc:sldMkLst>
        <pc:spChg chg="add mod">
          <ac:chgData name="Hannah Gauditz" userId="6095a0c5228b3b8d" providerId="LiveId" clId="{B2A29AFE-A7B3-4773-8BB8-56487809D711}" dt="2023-11-22T13:05:13.673" v="17723"/>
          <ac:spMkLst>
            <pc:docMk/>
            <pc:sldMk cId="667523675" sldId="2145705797"/>
            <ac:spMk id="2" creationId="{899E4632-1C91-9829-5186-36BC352B5ED8}"/>
          </ac:spMkLst>
        </pc:spChg>
        <pc:spChg chg="del mod">
          <ac:chgData name="Hannah Gauditz" userId="6095a0c5228b3b8d" providerId="LiveId" clId="{B2A29AFE-A7B3-4773-8BB8-56487809D711}" dt="2023-11-11T12:34:17.379" v="1866" actId="478"/>
          <ac:spMkLst>
            <pc:docMk/>
            <pc:sldMk cId="667523675" sldId="2145705797"/>
            <ac:spMk id="5" creationId="{A80CBD2C-9F2E-118A-85A6-9356337E8212}"/>
          </ac:spMkLst>
        </pc:spChg>
        <pc:spChg chg="del">
          <ac:chgData name="Hannah Gauditz" userId="6095a0c5228b3b8d" providerId="LiveId" clId="{B2A29AFE-A7B3-4773-8BB8-56487809D711}" dt="2023-11-11T12:34:14.090" v="1864" actId="478"/>
          <ac:spMkLst>
            <pc:docMk/>
            <pc:sldMk cId="667523675" sldId="2145705797"/>
            <ac:spMk id="6" creationId="{7EFBBA45-155F-DF32-2F79-49E17A29E7ED}"/>
          </ac:spMkLst>
        </pc:spChg>
        <pc:spChg chg="add del mod">
          <ac:chgData name="Hannah Gauditz" userId="6095a0c5228b3b8d" providerId="LiveId" clId="{B2A29AFE-A7B3-4773-8BB8-56487809D711}" dt="2023-11-22T13:05:12.685" v="17722" actId="478"/>
          <ac:spMkLst>
            <pc:docMk/>
            <pc:sldMk cId="667523675" sldId="2145705797"/>
            <ac:spMk id="7" creationId="{C2D1BB32-D2B7-977A-9068-12C1F5722280}"/>
          </ac:spMkLst>
        </pc:spChg>
      </pc:sldChg>
      <pc:sldChg chg="modSp mod modTransition">
        <pc:chgData name="Hannah Gauditz" userId="6095a0c5228b3b8d" providerId="LiveId" clId="{B2A29AFE-A7B3-4773-8BB8-56487809D711}" dt="2023-11-22T12:59:28.867" v="17688" actId="20577"/>
        <pc:sldMkLst>
          <pc:docMk/>
          <pc:sldMk cId="102153240" sldId="2145705798"/>
        </pc:sldMkLst>
        <pc:spChg chg="mod">
          <ac:chgData name="Hannah Gauditz" userId="6095a0c5228b3b8d" providerId="LiveId" clId="{B2A29AFE-A7B3-4773-8BB8-56487809D711}" dt="2023-11-22T12:59:28.867" v="17688" actId="20577"/>
          <ac:spMkLst>
            <pc:docMk/>
            <pc:sldMk cId="102153240" sldId="2145705798"/>
            <ac:spMk id="4" creationId="{7C9D1BD7-06E2-4D73-5A73-C90EB35C6054}"/>
          </ac:spMkLst>
        </pc:spChg>
      </pc:sldChg>
      <pc:sldChg chg="del">
        <pc:chgData name="Hannah Gauditz" userId="6095a0c5228b3b8d" providerId="LiveId" clId="{B2A29AFE-A7B3-4773-8BB8-56487809D711}" dt="2023-11-11T12:08:08.209" v="763" actId="47"/>
        <pc:sldMkLst>
          <pc:docMk/>
          <pc:sldMk cId="607108764" sldId="2145705801"/>
        </pc:sldMkLst>
      </pc:sldChg>
      <pc:sldChg chg="addSp delSp modSp mod modTransition">
        <pc:chgData name="Hannah Gauditz" userId="6095a0c5228b3b8d" providerId="LiveId" clId="{B2A29AFE-A7B3-4773-8BB8-56487809D711}" dt="2023-11-21T20:27:24.021" v="14615"/>
        <pc:sldMkLst>
          <pc:docMk/>
          <pc:sldMk cId="2832422650" sldId="2145705802"/>
        </pc:sldMkLst>
        <pc:spChg chg="add del mod">
          <ac:chgData name="Hannah Gauditz" userId="6095a0c5228b3b8d" providerId="LiveId" clId="{B2A29AFE-A7B3-4773-8BB8-56487809D711}" dt="2023-11-11T12:05:24.496" v="669"/>
          <ac:spMkLst>
            <pc:docMk/>
            <pc:sldMk cId="2832422650" sldId="2145705802"/>
            <ac:spMk id="5" creationId="{8BE91B1B-4D7A-0E05-CE74-81821FC1F917}"/>
          </ac:spMkLst>
        </pc:spChg>
        <pc:spChg chg="add del mod">
          <ac:chgData name="Hannah Gauditz" userId="6095a0c5228b3b8d" providerId="LiveId" clId="{B2A29AFE-A7B3-4773-8BB8-56487809D711}" dt="2023-11-11T12:06:14.789" v="729" actId="20577"/>
          <ac:spMkLst>
            <pc:docMk/>
            <pc:sldMk cId="2832422650" sldId="2145705802"/>
            <ac:spMk id="6" creationId="{7EFBBA45-155F-DF32-2F79-49E17A29E7ED}"/>
          </ac:spMkLst>
        </pc:spChg>
        <pc:spChg chg="add del mod">
          <ac:chgData name="Hannah Gauditz" userId="6095a0c5228b3b8d" providerId="LiveId" clId="{B2A29AFE-A7B3-4773-8BB8-56487809D711}" dt="2023-11-11T12:05:30.203" v="672" actId="478"/>
          <ac:spMkLst>
            <pc:docMk/>
            <pc:sldMk cId="2832422650" sldId="2145705802"/>
            <ac:spMk id="13" creationId="{9382BE81-1296-C6CA-FEE3-F3F5D13DFF44}"/>
          </ac:spMkLst>
        </pc:spChg>
      </pc:sldChg>
      <pc:sldChg chg="del">
        <pc:chgData name="Hannah Gauditz" userId="6095a0c5228b3b8d" providerId="LiveId" clId="{B2A29AFE-A7B3-4773-8BB8-56487809D711}" dt="2023-11-20T20:53:40.049" v="13146" actId="47"/>
        <pc:sldMkLst>
          <pc:docMk/>
          <pc:sldMk cId="105114758" sldId="2145705805"/>
        </pc:sldMkLst>
      </pc:sldChg>
      <pc:sldChg chg="del">
        <pc:chgData name="Hannah Gauditz" userId="6095a0c5228b3b8d" providerId="LiveId" clId="{B2A29AFE-A7B3-4773-8BB8-56487809D711}" dt="2023-11-20T20:53:41.396" v="13147" actId="47"/>
        <pc:sldMkLst>
          <pc:docMk/>
          <pc:sldMk cId="736605384" sldId="2145705806"/>
        </pc:sldMkLst>
      </pc:sldChg>
      <pc:sldChg chg="del">
        <pc:chgData name="Hannah Gauditz" userId="6095a0c5228b3b8d" providerId="LiveId" clId="{B2A29AFE-A7B3-4773-8BB8-56487809D711}" dt="2023-11-20T20:53:42.593" v="13148" actId="47"/>
        <pc:sldMkLst>
          <pc:docMk/>
          <pc:sldMk cId="3439654830" sldId="2145705807"/>
        </pc:sldMkLst>
      </pc:sldChg>
      <pc:sldChg chg="modSp mod modTransition">
        <pc:chgData name="Hannah Gauditz" userId="6095a0c5228b3b8d" providerId="LiveId" clId="{B2A29AFE-A7B3-4773-8BB8-56487809D711}" dt="2023-11-22T13:05:56.911" v="17743" actId="20577"/>
        <pc:sldMkLst>
          <pc:docMk/>
          <pc:sldMk cId="1640190219" sldId="2145705808"/>
        </pc:sldMkLst>
        <pc:spChg chg="mod">
          <ac:chgData name="Hannah Gauditz" userId="6095a0c5228b3b8d" providerId="LiveId" clId="{B2A29AFE-A7B3-4773-8BB8-56487809D711}" dt="2023-11-11T11:55:00.392" v="146" actId="20577"/>
          <ac:spMkLst>
            <pc:docMk/>
            <pc:sldMk cId="1640190219" sldId="2145705808"/>
            <ac:spMk id="2" creationId="{A40ABCFA-3E0B-F4E6-B231-5168EA7C254F}"/>
          </ac:spMkLst>
        </pc:spChg>
        <pc:spChg chg="mod">
          <ac:chgData name="Hannah Gauditz" userId="6095a0c5228b3b8d" providerId="LiveId" clId="{B2A29AFE-A7B3-4773-8BB8-56487809D711}" dt="2023-11-22T13:05:56.911" v="17743" actId="20577"/>
          <ac:spMkLst>
            <pc:docMk/>
            <pc:sldMk cId="1640190219" sldId="2145705808"/>
            <ac:spMk id="3" creationId="{DB89CC9E-0B27-58AE-7E0E-8AB19B934607}"/>
          </ac:spMkLst>
        </pc:spChg>
      </pc:sldChg>
      <pc:sldChg chg="del">
        <pc:chgData name="Hannah Gauditz" userId="6095a0c5228b3b8d" providerId="LiveId" clId="{B2A29AFE-A7B3-4773-8BB8-56487809D711}" dt="2023-11-11T12:08:06.837" v="762" actId="47"/>
        <pc:sldMkLst>
          <pc:docMk/>
          <pc:sldMk cId="3846361381" sldId="2145705809"/>
        </pc:sldMkLst>
      </pc:sldChg>
      <pc:sldChg chg="modSp add mod modTransition setBg">
        <pc:chgData name="Hannah Gauditz" userId="6095a0c5228b3b8d" providerId="LiveId" clId="{B2A29AFE-A7B3-4773-8BB8-56487809D711}" dt="2023-11-22T13:00:01.382" v="17700" actId="20577"/>
        <pc:sldMkLst>
          <pc:docMk/>
          <pc:sldMk cId="3655762820" sldId="2145705810"/>
        </pc:sldMkLst>
        <pc:spChg chg="mod">
          <ac:chgData name="Hannah Gauditz" userId="6095a0c5228b3b8d" providerId="LiveId" clId="{B2A29AFE-A7B3-4773-8BB8-56487809D711}" dt="2023-11-22T13:00:01.382" v="17700" actId="20577"/>
          <ac:spMkLst>
            <pc:docMk/>
            <pc:sldMk cId="3655762820" sldId="2145705810"/>
            <ac:spMk id="4" creationId="{7C9D1BD7-06E2-4D73-5A73-C90EB35C6054}"/>
          </ac:spMkLst>
        </pc:spChg>
        <pc:spChg chg="mod">
          <ac:chgData name="Hannah Gauditz" userId="6095a0c5228b3b8d" providerId="LiveId" clId="{B2A29AFE-A7B3-4773-8BB8-56487809D711}" dt="2023-11-11T12:02:48" v="632" actId="20577"/>
          <ac:spMkLst>
            <pc:docMk/>
            <pc:sldMk cId="3655762820" sldId="2145705810"/>
            <ac:spMk id="18" creationId="{B36F062C-03C4-16E1-D794-87F17DB58715}"/>
          </ac:spMkLst>
        </pc:spChg>
      </pc:sldChg>
      <pc:sldChg chg="modSp add mod modTransition setBg">
        <pc:chgData name="Hannah Gauditz" userId="6095a0c5228b3b8d" providerId="LiveId" clId="{B2A29AFE-A7B3-4773-8BB8-56487809D711}" dt="2023-11-21T20:27:24.021" v="14615"/>
        <pc:sldMkLst>
          <pc:docMk/>
          <pc:sldMk cId="348269607" sldId="2145705811"/>
        </pc:sldMkLst>
        <pc:spChg chg="mod">
          <ac:chgData name="Hannah Gauditz" userId="6095a0c5228b3b8d" providerId="LiveId" clId="{B2A29AFE-A7B3-4773-8BB8-56487809D711}" dt="2023-11-20T21:58:10.661" v="13411" actId="20577"/>
          <ac:spMkLst>
            <pc:docMk/>
            <pc:sldMk cId="348269607" sldId="2145705811"/>
            <ac:spMk id="4" creationId="{7C9D1BD7-06E2-4D73-5A73-C90EB35C6054}"/>
          </ac:spMkLst>
        </pc:spChg>
        <pc:spChg chg="mod">
          <ac:chgData name="Hannah Gauditz" userId="6095a0c5228b3b8d" providerId="LiveId" clId="{B2A29AFE-A7B3-4773-8BB8-56487809D711}" dt="2023-11-11T12:02:57.554" v="641" actId="20577"/>
          <ac:spMkLst>
            <pc:docMk/>
            <pc:sldMk cId="348269607" sldId="2145705811"/>
            <ac:spMk id="18" creationId="{B36F062C-03C4-16E1-D794-87F17DB58715}"/>
          </ac:spMkLst>
        </pc:spChg>
      </pc:sldChg>
      <pc:sldChg chg="modSp add mod modTransition setBg">
        <pc:chgData name="Hannah Gauditz" userId="6095a0c5228b3b8d" providerId="LiveId" clId="{B2A29AFE-A7B3-4773-8BB8-56487809D711}" dt="2023-11-21T20:27:24.021" v="14615"/>
        <pc:sldMkLst>
          <pc:docMk/>
          <pc:sldMk cId="2938295379" sldId="2145705812"/>
        </pc:sldMkLst>
        <pc:spChg chg="mod">
          <ac:chgData name="Hannah Gauditz" userId="6095a0c5228b3b8d" providerId="LiveId" clId="{B2A29AFE-A7B3-4773-8BB8-56487809D711}" dt="2023-11-21T11:56:45.825" v="14468" actId="20577"/>
          <ac:spMkLst>
            <pc:docMk/>
            <pc:sldMk cId="2938295379" sldId="2145705812"/>
            <ac:spMk id="4" creationId="{7C9D1BD7-06E2-4D73-5A73-C90EB35C6054}"/>
          </ac:spMkLst>
        </pc:spChg>
        <pc:spChg chg="mod">
          <ac:chgData name="Hannah Gauditz" userId="6095a0c5228b3b8d" providerId="LiveId" clId="{B2A29AFE-A7B3-4773-8BB8-56487809D711}" dt="2023-11-11T12:03:05.251" v="650" actId="20577"/>
          <ac:spMkLst>
            <pc:docMk/>
            <pc:sldMk cId="2938295379" sldId="2145705812"/>
            <ac:spMk id="18" creationId="{B36F062C-03C4-16E1-D794-87F17DB58715}"/>
          </ac:spMkLst>
        </pc:spChg>
      </pc:sldChg>
      <pc:sldChg chg="addSp delSp modSp add mod modTransition">
        <pc:chgData name="Hannah Gauditz" userId="6095a0c5228b3b8d" providerId="LiveId" clId="{B2A29AFE-A7B3-4773-8BB8-56487809D711}" dt="2023-11-22T11:51:40.152" v="16357" actId="403"/>
        <pc:sldMkLst>
          <pc:docMk/>
          <pc:sldMk cId="3714515639" sldId="2145705813"/>
        </pc:sldMkLst>
        <pc:spChg chg="add del">
          <ac:chgData name="Hannah Gauditz" userId="6095a0c5228b3b8d" providerId="LiveId" clId="{B2A29AFE-A7B3-4773-8BB8-56487809D711}" dt="2023-11-11T14:02:54.268" v="1873"/>
          <ac:spMkLst>
            <pc:docMk/>
            <pc:sldMk cId="3714515639" sldId="2145705813"/>
            <ac:spMk id="2" creationId="{B002AB2B-048E-8EC9-217B-C15985D7E3B6}"/>
          </ac:spMkLst>
        </pc:spChg>
        <pc:spChg chg="add del">
          <ac:chgData name="Hannah Gauditz" userId="6095a0c5228b3b8d" providerId="LiveId" clId="{B2A29AFE-A7B3-4773-8BB8-56487809D711}" dt="2023-11-11T14:02:54.268" v="1873"/>
          <ac:spMkLst>
            <pc:docMk/>
            <pc:sldMk cId="3714515639" sldId="2145705813"/>
            <ac:spMk id="4" creationId="{79927F63-F19C-86DE-F246-952195752397}"/>
          </ac:spMkLst>
        </pc:spChg>
        <pc:spChg chg="del">
          <ac:chgData name="Hannah Gauditz" userId="6095a0c5228b3b8d" providerId="LiveId" clId="{B2A29AFE-A7B3-4773-8BB8-56487809D711}" dt="2023-11-18T16:22:36.914" v="9538" actId="478"/>
          <ac:spMkLst>
            <pc:docMk/>
            <pc:sldMk cId="3714515639" sldId="2145705813"/>
            <ac:spMk id="9" creationId="{DFDFE61B-82D8-2E00-510C-77F42C5609FC}"/>
          </ac:spMkLst>
        </pc:spChg>
        <pc:spChg chg="mod">
          <ac:chgData name="Hannah Gauditz" userId="6095a0c5228b3b8d" providerId="LiveId" clId="{B2A29AFE-A7B3-4773-8BB8-56487809D711}" dt="2023-11-21T12:01:39.458" v="14563" actId="14100"/>
          <ac:spMkLst>
            <pc:docMk/>
            <pc:sldMk cId="3714515639" sldId="2145705813"/>
            <ac:spMk id="12" creationId="{C00FAC76-9FF7-DD23-7E3A-EB553F54D96C}"/>
          </ac:spMkLst>
        </pc:spChg>
        <pc:spChg chg="mod">
          <ac:chgData name="Hannah Gauditz" userId="6095a0c5228b3b8d" providerId="LiveId" clId="{B2A29AFE-A7B3-4773-8BB8-56487809D711}" dt="2023-11-22T11:51:40.152" v="16357" actId="403"/>
          <ac:spMkLst>
            <pc:docMk/>
            <pc:sldMk cId="3714515639" sldId="2145705813"/>
            <ac:spMk id="27" creationId="{F13CE049-57CF-568D-92EB-1712C5D4D811}"/>
          </ac:spMkLst>
        </pc:spChg>
        <pc:cxnChg chg="del mod">
          <ac:chgData name="Hannah Gauditz" userId="6095a0c5228b3b8d" providerId="LiveId" clId="{B2A29AFE-A7B3-4773-8BB8-56487809D711}" dt="2023-11-11T14:13:59.014" v="2196" actId="478"/>
          <ac:cxnSpMkLst>
            <pc:docMk/>
            <pc:sldMk cId="3714515639" sldId="2145705813"/>
            <ac:cxnSpMk id="6" creationId="{93543119-6FA0-E194-749E-A643F22DB028}"/>
          </ac:cxnSpMkLst>
        </pc:cxnChg>
      </pc:sldChg>
      <pc:sldChg chg="addSp delSp modSp add mod modTransition setBg addAnim delAnim modAnim">
        <pc:chgData name="Hannah Gauditz" userId="6095a0c5228b3b8d" providerId="LiveId" clId="{B2A29AFE-A7B3-4773-8BB8-56487809D711}" dt="2023-11-22T12:59:52.122" v="17696" actId="1076"/>
        <pc:sldMkLst>
          <pc:docMk/>
          <pc:sldMk cId="2465058278" sldId="2145705814"/>
        </pc:sldMkLst>
        <pc:spChg chg="add mod">
          <ac:chgData name="Hannah Gauditz" userId="6095a0c5228b3b8d" providerId="LiveId" clId="{B2A29AFE-A7B3-4773-8BB8-56487809D711}" dt="2023-11-21T20:22:37.582" v="14591" actId="767"/>
          <ac:spMkLst>
            <pc:docMk/>
            <pc:sldMk cId="2465058278" sldId="2145705814"/>
            <ac:spMk id="2" creationId="{13CBF501-3AD6-4178-8662-7BF7E1427214}"/>
          </ac:spMkLst>
        </pc:spChg>
        <pc:spChg chg="del">
          <ac:chgData name="Hannah Gauditz" userId="6095a0c5228b3b8d" providerId="LiveId" clId="{B2A29AFE-A7B3-4773-8BB8-56487809D711}" dt="2023-11-18T16:20:16.914" v="9470" actId="478"/>
          <ac:spMkLst>
            <pc:docMk/>
            <pc:sldMk cId="2465058278" sldId="2145705814"/>
            <ac:spMk id="2" creationId="{33C5060F-F060-0CA1-CFD2-A1E234C35295}"/>
          </ac:spMkLst>
        </pc:spChg>
        <pc:spChg chg="add mod">
          <ac:chgData name="Hannah Gauditz" userId="6095a0c5228b3b8d" providerId="LiveId" clId="{B2A29AFE-A7B3-4773-8BB8-56487809D711}" dt="2023-11-22T12:59:52.122" v="17696" actId="1076"/>
          <ac:spMkLst>
            <pc:docMk/>
            <pc:sldMk cId="2465058278" sldId="2145705814"/>
            <ac:spMk id="5" creationId="{34AAE424-6B31-5104-8983-45FC02C74A94}"/>
          </ac:spMkLst>
        </pc:spChg>
        <pc:spChg chg="add mod">
          <ac:chgData name="Hannah Gauditz" userId="6095a0c5228b3b8d" providerId="LiveId" clId="{B2A29AFE-A7B3-4773-8BB8-56487809D711}" dt="2023-11-21T21:35:43.244" v="15390" actId="20577"/>
          <ac:spMkLst>
            <pc:docMk/>
            <pc:sldMk cId="2465058278" sldId="2145705814"/>
            <ac:spMk id="6" creationId="{7E856F87-8ADF-7632-3F21-43E95728DCF8}"/>
          </ac:spMkLst>
        </pc:spChg>
        <pc:spChg chg="add del mod">
          <ac:chgData name="Hannah Gauditz" userId="6095a0c5228b3b8d" providerId="LiveId" clId="{B2A29AFE-A7B3-4773-8BB8-56487809D711}" dt="2023-11-22T12:57:44.930" v="17672" actId="20577"/>
          <ac:spMkLst>
            <pc:docMk/>
            <pc:sldMk cId="2465058278" sldId="2145705814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1:12.834" v="9477" actId="478"/>
          <ac:spMkLst>
            <pc:docMk/>
            <pc:sldMk cId="2465058278" sldId="2145705814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22T12:59:42.016" v="17694" actId="20577"/>
          <ac:spMkLst>
            <pc:docMk/>
            <pc:sldMk cId="2465058278" sldId="2145705814"/>
            <ac:spMk id="23" creationId="{E6356551-AA76-3E09-4E57-8545FAF72C2E}"/>
          </ac:spMkLst>
        </pc:spChg>
      </pc:sldChg>
      <pc:sldChg chg="addSp delSp modSp add mod modTransition setBg modAnim">
        <pc:chgData name="Hannah Gauditz" userId="6095a0c5228b3b8d" providerId="LiveId" clId="{B2A29AFE-A7B3-4773-8BB8-56487809D711}" dt="2023-11-21T21:11:27.957" v="15284" actId="20577"/>
        <pc:sldMkLst>
          <pc:docMk/>
          <pc:sldMk cId="2070886218" sldId="2145705815"/>
        </pc:sldMkLst>
        <pc:spChg chg="mod">
          <ac:chgData name="Hannah Gauditz" userId="6095a0c5228b3b8d" providerId="LiveId" clId="{B2A29AFE-A7B3-4773-8BB8-56487809D711}" dt="2023-11-18T16:21:28.035" v="9480" actId="20577"/>
          <ac:spMkLst>
            <pc:docMk/>
            <pc:sldMk cId="2070886218" sldId="2145705815"/>
            <ac:spMk id="2" creationId="{33C5060F-F060-0CA1-CFD2-A1E234C35295}"/>
          </ac:spMkLst>
        </pc:spChg>
        <pc:spChg chg="add mod">
          <ac:chgData name="Hannah Gauditz" userId="6095a0c5228b3b8d" providerId="LiveId" clId="{B2A29AFE-A7B3-4773-8BB8-56487809D711}" dt="2023-11-21T21:11:27.957" v="15284" actId="20577"/>
          <ac:spMkLst>
            <pc:docMk/>
            <pc:sldMk cId="2070886218" sldId="2145705815"/>
            <ac:spMk id="5" creationId="{F96776A7-8503-B1FB-695C-652AF7AA70E3}"/>
          </ac:spMkLst>
        </pc:spChg>
        <pc:spChg chg="mod">
          <ac:chgData name="Hannah Gauditz" userId="6095a0c5228b3b8d" providerId="LiveId" clId="{B2A29AFE-A7B3-4773-8BB8-56487809D711}" dt="2023-11-21T20:34:46.886" v="15064" actId="14100"/>
          <ac:spMkLst>
            <pc:docMk/>
            <pc:sldMk cId="2070886218" sldId="2145705815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0:26.067" v="9471" actId="478"/>
          <ac:spMkLst>
            <pc:docMk/>
            <pc:sldMk cId="2070886218" sldId="2145705815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11T12:24:27.242" v="1583" actId="20577"/>
          <ac:spMkLst>
            <pc:docMk/>
            <pc:sldMk cId="2070886218" sldId="2145705815"/>
            <ac:spMk id="23" creationId="{E6356551-AA76-3E09-4E57-8545FAF72C2E}"/>
          </ac:spMkLst>
        </pc:spChg>
      </pc:sldChg>
      <pc:sldChg chg="addSp delSp modSp add mod modTransition setBg modAnim">
        <pc:chgData name="Hannah Gauditz" userId="6095a0c5228b3b8d" providerId="LiveId" clId="{B2A29AFE-A7B3-4773-8BB8-56487809D711}" dt="2023-11-22T13:02:43.716" v="17718" actId="20577"/>
        <pc:sldMkLst>
          <pc:docMk/>
          <pc:sldMk cId="1111073118" sldId="2145705816"/>
        </pc:sldMkLst>
        <pc:spChg chg="mod">
          <ac:chgData name="Hannah Gauditz" userId="6095a0c5228b3b8d" providerId="LiveId" clId="{B2A29AFE-A7B3-4773-8BB8-56487809D711}" dt="2023-11-18T16:21:24.013" v="9479" actId="20577"/>
          <ac:spMkLst>
            <pc:docMk/>
            <pc:sldMk cId="1111073118" sldId="2145705816"/>
            <ac:spMk id="2" creationId="{33C5060F-F060-0CA1-CFD2-A1E234C35295}"/>
          </ac:spMkLst>
        </pc:spChg>
        <pc:spChg chg="add mod">
          <ac:chgData name="Hannah Gauditz" userId="6095a0c5228b3b8d" providerId="LiveId" clId="{B2A29AFE-A7B3-4773-8BB8-56487809D711}" dt="2023-11-21T20:38:37.760" v="15124" actId="14100"/>
          <ac:spMkLst>
            <pc:docMk/>
            <pc:sldMk cId="1111073118" sldId="2145705816"/>
            <ac:spMk id="5" creationId="{0D581D01-0E23-484C-F5A5-DF9F9CAB8057}"/>
          </ac:spMkLst>
        </pc:spChg>
        <pc:spChg chg="add del mod">
          <ac:chgData name="Hannah Gauditz" userId="6095a0c5228b3b8d" providerId="LiveId" clId="{B2A29AFE-A7B3-4773-8BB8-56487809D711}" dt="2023-11-20T20:49:56.339" v="13018" actId="478"/>
          <ac:spMkLst>
            <pc:docMk/>
            <pc:sldMk cId="1111073118" sldId="2145705816"/>
            <ac:spMk id="5" creationId="{D82A33E2-BB58-ACA8-0B2D-3CCF443B23E6}"/>
          </ac:spMkLst>
        </pc:spChg>
        <pc:spChg chg="add mod">
          <ac:chgData name="Hannah Gauditz" userId="6095a0c5228b3b8d" providerId="LiveId" clId="{B2A29AFE-A7B3-4773-8BB8-56487809D711}" dt="2023-11-20T20:50:51.853" v="13022" actId="208"/>
          <ac:spMkLst>
            <pc:docMk/>
            <pc:sldMk cId="1111073118" sldId="2145705816"/>
            <ac:spMk id="7" creationId="{3947A062-EE12-7A77-6B5F-725A76F7512D}"/>
          </ac:spMkLst>
        </pc:spChg>
        <pc:spChg chg="add mod">
          <ac:chgData name="Hannah Gauditz" userId="6095a0c5228b3b8d" providerId="LiveId" clId="{B2A29AFE-A7B3-4773-8BB8-56487809D711}" dt="2023-11-21T10:46:28.909" v="13790" actId="1076"/>
          <ac:spMkLst>
            <pc:docMk/>
            <pc:sldMk cId="1111073118" sldId="2145705816"/>
            <ac:spMk id="8" creationId="{E589973A-4307-386F-AE1A-D2E41E836B43}"/>
          </ac:spMkLst>
        </pc:spChg>
        <pc:spChg chg="add mod">
          <ac:chgData name="Hannah Gauditz" userId="6095a0c5228b3b8d" providerId="LiveId" clId="{B2A29AFE-A7B3-4773-8BB8-56487809D711}" dt="2023-11-22T13:01:09.050" v="17712" actId="20577"/>
          <ac:spMkLst>
            <pc:docMk/>
            <pc:sldMk cId="1111073118" sldId="2145705816"/>
            <ac:spMk id="10" creationId="{7F0CC390-CC07-1E18-FEC9-E7D16D8C01B0}"/>
          </ac:spMkLst>
        </pc:spChg>
        <pc:spChg chg="mod ord">
          <ac:chgData name="Hannah Gauditz" userId="6095a0c5228b3b8d" providerId="LiveId" clId="{B2A29AFE-A7B3-4773-8BB8-56487809D711}" dt="2023-11-22T13:02:43.716" v="17718" actId="20577"/>
          <ac:spMkLst>
            <pc:docMk/>
            <pc:sldMk cId="1111073118" sldId="2145705816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0:37.289" v="9474" actId="478"/>
          <ac:spMkLst>
            <pc:docMk/>
            <pc:sldMk cId="1111073118" sldId="2145705816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17T10:52:28.568" v="5106" actId="20577"/>
          <ac:spMkLst>
            <pc:docMk/>
            <pc:sldMk cId="1111073118" sldId="2145705816"/>
            <ac:spMk id="23" creationId="{E6356551-AA76-3E09-4E57-8545FAF72C2E}"/>
          </ac:spMkLst>
        </pc:spChg>
        <pc:picChg chg="add mod ord modCrop">
          <ac:chgData name="Hannah Gauditz" userId="6095a0c5228b3b8d" providerId="LiveId" clId="{B2A29AFE-A7B3-4773-8BB8-56487809D711}" dt="2023-11-20T20:50:21.867" v="13019" actId="1582"/>
          <ac:picMkLst>
            <pc:docMk/>
            <pc:sldMk cId="1111073118" sldId="2145705816"/>
            <ac:picMk id="6" creationId="{F6875452-2F30-E3E1-77DD-6FE01996EBD6}"/>
          </ac:picMkLst>
        </pc:picChg>
      </pc:sldChg>
      <pc:sldChg chg="delSp modSp add mod modTransition setBg modAnim">
        <pc:chgData name="Hannah Gauditz" userId="6095a0c5228b3b8d" providerId="LiveId" clId="{B2A29AFE-A7B3-4773-8BB8-56487809D711}" dt="2023-11-22T12:01:29.207" v="16384" actId="20577"/>
        <pc:sldMkLst>
          <pc:docMk/>
          <pc:sldMk cId="3977255580" sldId="2145705817"/>
        </pc:sldMkLst>
        <pc:spChg chg="mod">
          <ac:chgData name="Hannah Gauditz" userId="6095a0c5228b3b8d" providerId="LiveId" clId="{B2A29AFE-A7B3-4773-8BB8-56487809D711}" dt="2023-11-18T16:21:33.698" v="9481" actId="20577"/>
          <ac:spMkLst>
            <pc:docMk/>
            <pc:sldMk cId="3977255580" sldId="2145705817"/>
            <ac:spMk id="2" creationId="{33C5060F-F060-0CA1-CFD2-A1E234C35295}"/>
          </ac:spMkLst>
        </pc:spChg>
        <pc:spChg chg="mod">
          <ac:chgData name="Hannah Gauditz" userId="6095a0c5228b3b8d" providerId="LiveId" clId="{B2A29AFE-A7B3-4773-8BB8-56487809D711}" dt="2023-11-22T12:01:29.207" v="16384" actId="20577"/>
          <ac:spMkLst>
            <pc:docMk/>
            <pc:sldMk cId="3977255580" sldId="2145705817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1:01.009" v="9475" actId="478"/>
          <ac:spMkLst>
            <pc:docMk/>
            <pc:sldMk cId="3977255580" sldId="2145705817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11T12:24:50.351" v="1618" actId="20577"/>
          <ac:spMkLst>
            <pc:docMk/>
            <pc:sldMk cId="3977255580" sldId="2145705817"/>
            <ac:spMk id="23" creationId="{E6356551-AA76-3E09-4E57-8545FAF72C2E}"/>
          </ac:spMkLst>
        </pc:spChg>
      </pc:sldChg>
      <pc:sldChg chg="delSp modSp add mod modTransition setBg modAnim">
        <pc:chgData name="Hannah Gauditz" userId="6095a0c5228b3b8d" providerId="LiveId" clId="{B2A29AFE-A7B3-4773-8BB8-56487809D711}" dt="2023-11-22T13:09:39.541" v="17763" actId="20577"/>
        <pc:sldMkLst>
          <pc:docMk/>
          <pc:sldMk cId="3595779437" sldId="2145705818"/>
        </pc:sldMkLst>
        <pc:spChg chg="mod">
          <ac:chgData name="Hannah Gauditz" userId="6095a0c5228b3b8d" providerId="LiveId" clId="{B2A29AFE-A7B3-4773-8BB8-56487809D711}" dt="2023-11-18T16:21:45.156" v="9485" actId="20577"/>
          <ac:spMkLst>
            <pc:docMk/>
            <pc:sldMk cId="3595779437" sldId="2145705818"/>
            <ac:spMk id="2" creationId="{33C5060F-F060-0CA1-CFD2-A1E234C35295}"/>
          </ac:spMkLst>
        </pc:spChg>
        <pc:spChg chg="mod">
          <ac:chgData name="Hannah Gauditz" userId="6095a0c5228b3b8d" providerId="LiveId" clId="{B2A29AFE-A7B3-4773-8BB8-56487809D711}" dt="2023-11-22T13:09:39.541" v="17763" actId="20577"/>
          <ac:spMkLst>
            <pc:docMk/>
            <pc:sldMk cId="3595779437" sldId="2145705818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1:41.489" v="9482" actId="478"/>
          <ac:spMkLst>
            <pc:docMk/>
            <pc:sldMk cId="3595779437" sldId="2145705818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20T21:58:16.120" v="13413" actId="20577"/>
          <ac:spMkLst>
            <pc:docMk/>
            <pc:sldMk cId="3595779437" sldId="2145705818"/>
            <ac:spMk id="23" creationId="{E6356551-AA76-3E09-4E57-8545FAF72C2E}"/>
          </ac:spMkLst>
        </pc:spChg>
      </pc:sldChg>
      <pc:sldChg chg="addSp delSp modSp add mod modTransition setBg addAnim delAnim modAnim">
        <pc:chgData name="Hannah Gauditz" userId="6095a0c5228b3b8d" providerId="LiveId" clId="{B2A29AFE-A7B3-4773-8BB8-56487809D711}" dt="2023-11-22T13:02:29.335" v="17716" actId="20577"/>
        <pc:sldMkLst>
          <pc:docMk/>
          <pc:sldMk cId="3818037762" sldId="2145705819"/>
        </pc:sldMkLst>
        <pc:spChg chg="mod">
          <ac:chgData name="Hannah Gauditz" userId="6095a0c5228b3b8d" providerId="LiveId" clId="{B2A29AFE-A7B3-4773-8BB8-56487809D711}" dt="2023-11-18T16:22:15.979" v="9532" actId="20577"/>
          <ac:spMkLst>
            <pc:docMk/>
            <pc:sldMk cId="3818037762" sldId="2145705819"/>
            <ac:spMk id="2" creationId="{33C5060F-F060-0CA1-CFD2-A1E234C35295}"/>
          </ac:spMkLst>
        </pc:spChg>
        <pc:spChg chg="add del mod">
          <ac:chgData name="Hannah Gauditz" userId="6095a0c5228b3b8d" providerId="LiveId" clId="{B2A29AFE-A7B3-4773-8BB8-56487809D711}" dt="2023-11-21T21:54:20.019" v="15810" actId="478"/>
          <ac:spMkLst>
            <pc:docMk/>
            <pc:sldMk cId="3818037762" sldId="2145705819"/>
            <ac:spMk id="5" creationId="{E3E4BA2F-FB3E-19D7-DF8A-E581C239938E}"/>
          </ac:spMkLst>
        </pc:spChg>
        <pc:spChg chg="add del">
          <ac:chgData name="Hannah Gauditz" userId="6095a0c5228b3b8d" providerId="LiveId" clId="{B2A29AFE-A7B3-4773-8BB8-56487809D711}" dt="2023-11-11T12:26:09.107" v="1757" actId="22"/>
          <ac:spMkLst>
            <pc:docMk/>
            <pc:sldMk cId="3818037762" sldId="2145705819"/>
            <ac:spMk id="6" creationId="{2FB1FC99-8AE9-A273-0AC2-F99F3E44D568}"/>
          </ac:spMkLst>
        </pc:spChg>
        <pc:spChg chg="add mod">
          <ac:chgData name="Hannah Gauditz" userId="6095a0c5228b3b8d" providerId="LiveId" clId="{B2A29AFE-A7B3-4773-8BB8-56487809D711}" dt="2023-11-21T22:00:59.747" v="16021" actId="1076"/>
          <ac:spMkLst>
            <pc:docMk/>
            <pc:sldMk cId="3818037762" sldId="2145705819"/>
            <ac:spMk id="7" creationId="{0C3B173B-9CE6-C5F0-D2ED-FB5B8DA22E4E}"/>
          </ac:spMkLst>
        </pc:spChg>
        <pc:spChg chg="add mod">
          <ac:chgData name="Hannah Gauditz" userId="6095a0c5228b3b8d" providerId="LiveId" clId="{B2A29AFE-A7B3-4773-8BB8-56487809D711}" dt="2023-11-22T12:54:17.100" v="17597" actId="6549"/>
          <ac:spMkLst>
            <pc:docMk/>
            <pc:sldMk cId="3818037762" sldId="2145705819"/>
            <ac:spMk id="8" creationId="{4F7A512D-BD2B-8AE0-AFF1-5EF20D5069A3}"/>
          </ac:spMkLst>
        </pc:spChg>
        <pc:spChg chg="add del mod">
          <ac:chgData name="Hannah Gauditz" userId="6095a0c5228b3b8d" providerId="LiveId" clId="{B2A29AFE-A7B3-4773-8BB8-56487809D711}" dt="2023-11-22T13:02:29.335" v="17716" actId="20577"/>
          <ac:spMkLst>
            <pc:docMk/>
            <pc:sldMk cId="3818037762" sldId="2145705819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2:18.798" v="9533" actId="478"/>
          <ac:spMkLst>
            <pc:docMk/>
            <pc:sldMk cId="3818037762" sldId="2145705819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21T11:56:56.611" v="14473" actId="20577"/>
          <ac:spMkLst>
            <pc:docMk/>
            <pc:sldMk cId="3818037762" sldId="2145705819"/>
            <ac:spMk id="23" creationId="{E6356551-AA76-3E09-4E57-8545FAF72C2E}"/>
          </ac:spMkLst>
        </pc:spChg>
        <pc:picChg chg="add del mod">
          <ac:chgData name="Hannah Gauditz" userId="6095a0c5228b3b8d" providerId="LiveId" clId="{B2A29AFE-A7B3-4773-8BB8-56487809D711}" dt="2023-11-21T21:54:02.854" v="15806"/>
          <ac:picMkLst>
            <pc:docMk/>
            <pc:sldMk cId="3818037762" sldId="2145705819"/>
            <ac:picMk id="6" creationId="{9EBEDF2F-7981-4209-03D5-7A77117736EE}"/>
          </ac:picMkLst>
        </pc:picChg>
      </pc:sldChg>
      <pc:sldChg chg="delSp modSp add del mod">
        <pc:chgData name="Hannah Gauditz" userId="6095a0c5228b3b8d" providerId="LiveId" clId="{B2A29AFE-A7B3-4773-8BB8-56487809D711}" dt="2023-11-20T22:06:36.274" v="13582" actId="47"/>
        <pc:sldMkLst>
          <pc:docMk/>
          <pc:sldMk cId="69026938" sldId="2145705820"/>
        </pc:sldMkLst>
        <pc:spChg chg="mod">
          <ac:chgData name="Hannah Gauditz" userId="6095a0c5228b3b8d" providerId="LiveId" clId="{B2A29AFE-A7B3-4773-8BB8-56487809D711}" dt="2023-11-18T16:22:25.823" v="9535" actId="20577"/>
          <ac:spMkLst>
            <pc:docMk/>
            <pc:sldMk cId="69026938" sldId="2145705820"/>
            <ac:spMk id="2" creationId="{33C5060F-F060-0CA1-CFD2-A1E234C35295}"/>
          </ac:spMkLst>
        </pc:spChg>
        <pc:spChg chg="mod">
          <ac:chgData name="Hannah Gauditz" userId="6095a0c5228b3b8d" providerId="LiveId" clId="{B2A29AFE-A7B3-4773-8BB8-56487809D711}" dt="2023-11-18T14:59:53.877" v="9427" actId="20577"/>
          <ac:spMkLst>
            <pc:docMk/>
            <pc:sldMk cId="69026938" sldId="2145705820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2:22.839" v="9534" actId="478"/>
          <ac:spMkLst>
            <pc:docMk/>
            <pc:sldMk cId="69026938" sldId="2145705820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11T12:26:18.722" v="1768" actId="20577"/>
          <ac:spMkLst>
            <pc:docMk/>
            <pc:sldMk cId="69026938" sldId="2145705820"/>
            <ac:spMk id="23" creationId="{E6356551-AA76-3E09-4E57-8545FAF72C2E}"/>
          </ac:spMkLst>
        </pc:spChg>
      </pc:sldChg>
      <pc:sldChg chg="addSp delSp modSp add del mod ord modTransition modAnim">
        <pc:chgData name="Hannah Gauditz" userId="6095a0c5228b3b8d" providerId="LiveId" clId="{B2A29AFE-A7B3-4773-8BB8-56487809D711}" dt="2023-11-22T12:29:19.535" v="17538" actId="20577"/>
        <pc:sldMkLst>
          <pc:docMk/>
          <pc:sldMk cId="4001965083" sldId="2145705821"/>
        </pc:sldMkLst>
        <pc:spChg chg="mod">
          <ac:chgData name="Hannah Gauditz" userId="6095a0c5228b3b8d" providerId="LiveId" clId="{B2A29AFE-A7B3-4773-8BB8-56487809D711}" dt="2023-11-18T16:22:29.104" v="9536" actId="20577"/>
          <ac:spMkLst>
            <pc:docMk/>
            <pc:sldMk cId="4001965083" sldId="2145705821"/>
            <ac:spMk id="2" creationId="{33C5060F-F060-0CA1-CFD2-A1E234C35295}"/>
          </ac:spMkLst>
        </pc:spChg>
        <pc:spChg chg="add del">
          <ac:chgData name="Hannah Gauditz" userId="6095a0c5228b3b8d" providerId="LiveId" clId="{B2A29AFE-A7B3-4773-8BB8-56487809D711}" dt="2023-11-11T12:29:33.279" v="1820" actId="478"/>
          <ac:spMkLst>
            <pc:docMk/>
            <pc:sldMk cId="4001965083" sldId="2145705821"/>
            <ac:spMk id="5" creationId="{1146CE4F-C474-CDAE-E2B4-BDAB458B9D23}"/>
          </ac:spMkLst>
        </pc:spChg>
        <pc:spChg chg="add mod ord">
          <ac:chgData name="Hannah Gauditz" userId="6095a0c5228b3b8d" providerId="LiveId" clId="{B2A29AFE-A7B3-4773-8BB8-56487809D711}" dt="2023-11-21T12:00:47.859" v="14559" actId="167"/>
          <ac:spMkLst>
            <pc:docMk/>
            <pc:sldMk cId="4001965083" sldId="2145705821"/>
            <ac:spMk id="5" creationId="{1A44AE5C-838A-250E-E48A-DF48CD4BAF47}"/>
          </ac:spMkLst>
        </pc:spChg>
        <pc:spChg chg="add del mod">
          <ac:chgData name="Hannah Gauditz" userId="6095a0c5228b3b8d" providerId="LiveId" clId="{B2A29AFE-A7B3-4773-8BB8-56487809D711}" dt="2023-11-11T12:32:09.548" v="1839" actId="11529"/>
          <ac:spMkLst>
            <pc:docMk/>
            <pc:sldMk cId="4001965083" sldId="2145705821"/>
            <ac:spMk id="6" creationId="{62B35753-BD30-4FBA-56CD-6B29B018A3D8}"/>
          </ac:spMkLst>
        </pc:spChg>
        <pc:spChg chg="add del mod">
          <ac:chgData name="Hannah Gauditz" userId="6095a0c5228b3b8d" providerId="LiveId" clId="{B2A29AFE-A7B3-4773-8BB8-56487809D711}" dt="2023-11-22T12:29:19.535" v="17538" actId="20577"/>
          <ac:spMkLst>
            <pc:docMk/>
            <pc:sldMk cId="4001965083" sldId="2145705821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2:32.004" v="9537" actId="478"/>
          <ac:spMkLst>
            <pc:docMk/>
            <pc:sldMk cId="4001965083" sldId="2145705821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21T12:01:33.089" v="14562" actId="207"/>
          <ac:spMkLst>
            <pc:docMk/>
            <pc:sldMk cId="4001965083" sldId="2145705821"/>
            <ac:spMk id="23" creationId="{E6356551-AA76-3E09-4E57-8545FAF72C2E}"/>
          </ac:spMkLst>
        </pc:spChg>
        <pc:cxnChg chg="add del mod">
          <ac:chgData name="Hannah Gauditz" userId="6095a0c5228b3b8d" providerId="LiveId" clId="{B2A29AFE-A7B3-4773-8BB8-56487809D711}" dt="2023-11-21T12:00:31.576" v="14555" actId="208"/>
          <ac:cxnSpMkLst>
            <pc:docMk/>
            <pc:sldMk cId="4001965083" sldId="2145705821"/>
            <ac:cxnSpMk id="4" creationId="{369F393A-EFED-B542-5BDD-E109E7F0B6C5}"/>
          </ac:cxnSpMkLst>
        </pc:cxnChg>
      </pc:sldChg>
      <pc:sldChg chg="addSp delSp modSp add del mod modTransition">
        <pc:chgData name="Hannah Gauditz" userId="6095a0c5228b3b8d" providerId="LiveId" clId="{B2A29AFE-A7B3-4773-8BB8-56487809D711}" dt="2023-11-21T21:44:15.882" v="15471" actId="47"/>
        <pc:sldMkLst>
          <pc:docMk/>
          <pc:sldMk cId="4113371197" sldId="2145705822"/>
        </pc:sldMkLst>
        <pc:spChg chg="mod">
          <ac:chgData name="Hannah Gauditz" userId="6095a0c5228b3b8d" providerId="LiveId" clId="{B2A29AFE-A7B3-4773-8BB8-56487809D711}" dt="2023-11-18T16:21:58.785" v="9489" actId="20577"/>
          <ac:spMkLst>
            <pc:docMk/>
            <pc:sldMk cId="4113371197" sldId="2145705822"/>
            <ac:spMk id="2" creationId="{33C5060F-F060-0CA1-CFD2-A1E234C35295}"/>
          </ac:spMkLst>
        </pc:spChg>
        <pc:spChg chg="mod">
          <ac:chgData name="Hannah Gauditz" userId="6095a0c5228b3b8d" providerId="LiveId" clId="{B2A29AFE-A7B3-4773-8BB8-56487809D711}" dt="2023-11-21T11:31:28.382" v="14419" actId="20577"/>
          <ac:spMkLst>
            <pc:docMk/>
            <pc:sldMk cId="4113371197" sldId="2145705822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2:05.310" v="9506" actId="478"/>
          <ac:spMkLst>
            <pc:docMk/>
            <pc:sldMk cId="4113371197" sldId="2145705822"/>
            <ac:spMk id="18" creationId="{0D0F694F-D16D-4995-B138-7D8EB9F4550F}"/>
          </ac:spMkLst>
        </pc:spChg>
        <pc:picChg chg="add mod modCrop">
          <ac:chgData name="Hannah Gauditz" userId="6095a0c5228b3b8d" providerId="LiveId" clId="{B2A29AFE-A7B3-4773-8BB8-56487809D711}" dt="2023-11-20T20:52:54.060" v="13128" actId="1076"/>
          <ac:picMkLst>
            <pc:docMk/>
            <pc:sldMk cId="4113371197" sldId="2145705822"/>
            <ac:picMk id="6" creationId="{82F31EA9-87ED-2FE8-067A-4863BE983D6D}"/>
          </ac:picMkLst>
        </pc:picChg>
      </pc:sldChg>
      <pc:sldChg chg="addSp delSp modSp add mod modTransition delAnim modAnim">
        <pc:chgData name="Hannah Gauditz" userId="6095a0c5228b3b8d" providerId="LiveId" clId="{B2A29AFE-A7B3-4773-8BB8-56487809D711}" dt="2023-11-22T12:14:58.923" v="16552" actId="20577"/>
        <pc:sldMkLst>
          <pc:docMk/>
          <pc:sldMk cId="124829883" sldId="2145705823"/>
        </pc:sldMkLst>
        <pc:spChg chg="mod">
          <ac:chgData name="Hannah Gauditz" userId="6095a0c5228b3b8d" providerId="LiveId" clId="{B2A29AFE-A7B3-4773-8BB8-56487809D711}" dt="2023-11-18T16:21:48.575" v="9486" actId="20577"/>
          <ac:spMkLst>
            <pc:docMk/>
            <pc:sldMk cId="124829883" sldId="2145705823"/>
            <ac:spMk id="2" creationId="{33C5060F-F060-0CA1-CFD2-A1E234C35295}"/>
          </ac:spMkLst>
        </pc:spChg>
        <pc:spChg chg="add del mod">
          <ac:chgData name="Hannah Gauditz" userId="6095a0c5228b3b8d" providerId="LiveId" clId="{B2A29AFE-A7B3-4773-8BB8-56487809D711}" dt="2023-11-21T20:46:09.551" v="15197" actId="478"/>
          <ac:spMkLst>
            <pc:docMk/>
            <pc:sldMk cId="124829883" sldId="2145705823"/>
            <ac:spMk id="6" creationId="{FA0C97EE-7C29-93AB-A9CD-D8F6A9740129}"/>
          </ac:spMkLst>
        </pc:spChg>
        <pc:spChg chg="add del mod">
          <ac:chgData name="Hannah Gauditz" userId="6095a0c5228b3b8d" providerId="LiveId" clId="{B2A29AFE-A7B3-4773-8BB8-56487809D711}" dt="2023-11-21T20:48:58.352" v="15236" actId="767"/>
          <ac:spMkLst>
            <pc:docMk/>
            <pc:sldMk cId="124829883" sldId="2145705823"/>
            <ac:spMk id="7" creationId="{4C97A4FF-FC15-0E31-EF23-387D789EC2CB}"/>
          </ac:spMkLst>
        </pc:spChg>
        <pc:spChg chg="mod">
          <ac:chgData name="Hannah Gauditz" userId="6095a0c5228b3b8d" providerId="LiveId" clId="{B2A29AFE-A7B3-4773-8BB8-56487809D711}" dt="2023-11-22T12:14:58.923" v="16552" actId="20577"/>
          <ac:spMkLst>
            <pc:docMk/>
            <pc:sldMk cId="124829883" sldId="2145705823"/>
            <ac:spMk id="11" creationId="{25E81FC6-C68E-4626-A0AE-D2286856040B}"/>
          </ac:spMkLst>
        </pc:spChg>
        <pc:spChg chg="del">
          <ac:chgData name="Hannah Gauditz" userId="6095a0c5228b3b8d" providerId="LiveId" clId="{B2A29AFE-A7B3-4773-8BB8-56487809D711}" dt="2023-11-18T16:21:51.035" v="9487" actId="478"/>
          <ac:spMkLst>
            <pc:docMk/>
            <pc:sldMk cId="124829883" sldId="2145705823"/>
            <ac:spMk id="18" creationId="{0D0F694F-D16D-4995-B138-7D8EB9F4550F}"/>
          </ac:spMkLst>
        </pc:spChg>
        <pc:spChg chg="mod">
          <ac:chgData name="Hannah Gauditz" userId="6095a0c5228b3b8d" providerId="LiveId" clId="{B2A29AFE-A7B3-4773-8BB8-56487809D711}" dt="2023-11-20T21:58:58.647" v="13475" actId="20577"/>
          <ac:spMkLst>
            <pc:docMk/>
            <pc:sldMk cId="124829883" sldId="2145705823"/>
            <ac:spMk id="23" creationId="{E6356551-AA76-3E09-4E57-8545FAF72C2E}"/>
          </ac:spMkLst>
        </pc:spChg>
        <pc:picChg chg="add del mod ord modCrop">
          <ac:chgData name="Hannah Gauditz" userId="6095a0c5228b3b8d" providerId="LiveId" clId="{B2A29AFE-A7B3-4773-8BB8-56487809D711}" dt="2023-11-21T20:49:08.660" v="15245" actId="478"/>
          <ac:picMkLst>
            <pc:docMk/>
            <pc:sldMk cId="124829883" sldId="2145705823"/>
            <ac:picMk id="5" creationId="{E99C7F9C-D830-FCAB-253F-C8CB3B61DE85}"/>
          </ac:picMkLst>
        </pc:picChg>
        <pc:picChg chg="add mod">
          <ac:chgData name="Hannah Gauditz" userId="6095a0c5228b3b8d" providerId="LiveId" clId="{B2A29AFE-A7B3-4773-8BB8-56487809D711}" dt="2023-11-21T21:43:58.845" v="15466" actId="1076"/>
          <ac:picMkLst>
            <pc:docMk/>
            <pc:sldMk cId="124829883" sldId="2145705823"/>
            <ac:picMk id="8" creationId="{CDA95DC3-9427-8E0F-95E6-A805AB823A51}"/>
          </ac:picMkLst>
        </pc:picChg>
      </pc:sldChg>
      <pc:sldChg chg="addSp modSp add del mod ord">
        <pc:chgData name="Hannah Gauditz" userId="6095a0c5228b3b8d" providerId="LiveId" clId="{B2A29AFE-A7B3-4773-8BB8-56487809D711}" dt="2023-11-21T11:59:21.227" v="14545" actId="47"/>
        <pc:sldMkLst>
          <pc:docMk/>
          <pc:sldMk cId="523196797" sldId="2145705824"/>
        </pc:sldMkLst>
        <pc:spChg chg="mod">
          <ac:chgData name="Hannah Gauditz" userId="6095a0c5228b3b8d" providerId="LiveId" clId="{B2A29AFE-A7B3-4773-8BB8-56487809D711}" dt="2023-11-21T11:58:03.938" v="14538" actId="20577"/>
          <ac:spMkLst>
            <pc:docMk/>
            <pc:sldMk cId="523196797" sldId="2145705824"/>
            <ac:spMk id="2" creationId="{A40ABCFA-3E0B-F4E6-B231-5168EA7C254F}"/>
          </ac:spMkLst>
        </pc:spChg>
        <pc:spChg chg="mod">
          <ac:chgData name="Hannah Gauditz" userId="6095a0c5228b3b8d" providerId="LiveId" clId="{B2A29AFE-A7B3-4773-8BB8-56487809D711}" dt="2023-11-21T11:58:08.317" v="14539" actId="20577"/>
          <ac:spMkLst>
            <pc:docMk/>
            <pc:sldMk cId="523196797" sldId="2145705824"/>
            <ac:spMk id="3" creationId="{DB89CC9E-0B27-58AE-7E0E-8AB19B934607}"/>
          </ac:spMkLst>
        </pc:spChg>
        <pc:spChg chg="add mod">
          <ac:chgData name="Hannah Gauditz" userId="6095a0c5228b3b8d" providerId="LiveId" clId="{B2A29AFE-A7B3-4773-8BB8-56487809D711}" dt="2023-11-21T11:59:06.520" v="14544" actId="208"/>
          <ac:spMkLst>
            <pc:docMk/>
            <pc:sldMk cId="523196797" sldId="2145705824"/>
            <ac:spMk id="4" creationId="{D333C263-4A5D-72D5-CDEA-F8CD8C417F95}"/>
          </ac:spMkLst>
        </pc:spChg>
      </pc:sldChg>
      <pc:sldChg chg="modSp add del mod">
        <pc:chgData name="Hannah Gauditz" userId="6095a0c5228b3b8d" providerId="LiveId" clId="{B2A29AFE-A7B3-4773-8BB8-56487809D711}" dt="2023-11-19T16:33:37.389" v="12384" actId="47"/>
        <pc:sldMkLst>
          <pc:docMk/>
          <pc:sldMk cId="1887462321" sldId="2145705824"/>
        </pc:sldMkLst>
        <pc:spChg chg="mod">
          <ac:chgData name="Hannah Gauditz" userId="6095a0c5228b3b8d" providerId="LiveId" clId="{B2A29AFE-A7B3-4773-8BB8-56487809D711}" dt="2023-11-19T16:33:21.522" v="12379" actId="20577"/>
          <ac:spMkLst>
            <pc:docMk/>
            <pc:sldMk cId="1887462321" sldId="2145705824"/>
            <ac:spMk id="11" creationId="{25E81FC6-C68E-4626-A0AE-D2286856040B}"/>
          </ac:spMkLst>
        </pc:spChg>
      </pc:sldChg>
      <pc:sldChg chg="delSp modSp add mod ord delAnim modAnim">
        <pc:chgData name="Hannah Gauditz" userId="6095a0c5228b3b8d" providerId="LiveId" clId="{B2A29AFE-A7B3-4773-8BB8-56487809D711}" dt="2023-11-21T21:33:10.359" v="15339" actId="20577"/>
        <pc:sldMkLst>
          <pc:docMk/>
          <pc:sldMk cId="4137404815" sldId="2145705824"/>
        </pc:sldMkLst>
        <pc:spChg chg="del">
          <ac:chgData name="Hannah Gauditz" userId="6095a0c5228b3b8d" providerId="LiveId" clId="{B2A29AFE-A7B3-4773-8BB8-56487809D711}" dt="2023-11-21T20:33:43.568" v="15041" actId="478"/>
          <ac:spMkLst>
            <pc:docMk/>
            <pc:sldMk cId="4137404815" sldId="2145705824"/>
            <ac:spMk id="5" creationId="{34AAE424-6B31-5104-8983-45FC02C74A94}"/>
          </ac:spMkLst>
        </pc:spChg>
        <pc:spChg chg="del">
          <ac:chgData name="Hannah Gauditz" userId="6095a0c5228b3b8d" providerId="LiveId" clId="{B2A29AFE-A7B3-4773-8BB8-56487809D711}" dt="2023-11-21T20:33:41.906" v="15040" actId="478"/>
          <ac:spMkLst>
            <pc:docMk/>
            <pc:sldMk cId="4137404815" sldId="2145705824"/>
            <ac:spMk id="6" creationId="{7E856F87-8ADF-7632-3F21-43E95728DCF8}"/>
          </ac:spMkLst>
        </pc:spChg>
        <pc:spChg chg="mod">
          <ac:chgData name="Hannah Gauditz" userId="6095a0c5228b3b8d" providerId="LiveId" clId="{B2A29AFE-A7B3-4773-8BB8-56487809D711}" dt="2023-11-21T21:33:10.359" v="15339" actId="20577"/>
          <ac:spMkLst>
            <pc:docMk/>
            <pc:sldMk cId="4137404815" sldId="2145705824"/>
            <ac:spMk id="11" creationId="{25E81FC6-C68E-4626-A0AE-D2286856040B}"/>
          </ac:spMkLst>
        </pc:spChg>
        <pc:spChg chg="mod">
          <ac:chgData name="Hannah Gauditz" userId="6095a0c5228b3b8d" providerId="LiveId" clId="{B2A29AFE-A7B3-4773-8BB8-56487809D711}" dt="2023-11-21T20:33:58.398" v="15057" actId="20577"/>
          <ac:spMkLst>
            <pc:docMk/>
            <pc:sldMk cId="4137404815" sldId="2145705824"/>
            <ac:spMk id="23" creationId="{E6356551-AA76-3E09-4E57-8545FAF72C2E}"/>
          </ac:spMkLst>
        </pc:spChg>
      </pc:sldChg>
      <pc:sldChg chg="addSp modSp add del mod modAnim">
        <pc:chgData name="Hannah Gauditz" userId="6095a0c5228b3b8d" providerId="LiveId" clId="{B2A29AFE-A7B3-4773-8BB8-56487809D711}" dt="2023-11-21T21:57:42.164" v="15845" actId="47"/>
        <pc:sldMkLst>
          <pc:docMk/>
          <pc:sldMk cId="1560168725" sldId="2145705825"/>
        </pc:sldMkLst>
        <pc:spChg chg="add mod">
          <ac:chgData name="Hannah Gauditz" userId="6095a0c5228b3b8d" providerId="LiveId" clId="{B2A29AFE-A7B3-4773-8BB8-56487809D711}" dt="2023-11-21T21:18:29.178" v="15310" actId="20577"/>
          <ac:spMkLst>
            <pc:docMk/>
            <pc:sldMk cId="1560168725" sldId="2145705825"/>
            <ac:spMk id="5" creationId="{5223897B-BC9F-502B-D0ED-8C7527211273}"/>
          </ac:spMkLst>
        </pc:spChg>
        <pc:spChg chg="mod">
          <ac:chgData name="Hannah Gauditz" userId="6095a0c5228b3b8d" providerId="LiveId" clId="{B2A29AFE-A7B3-4773-8BB8-56487809D711}" dt="2023-11-21T20:42:08.608" v="15149" actId="5793"/>
          <ac:spMkLst>
            <pc:docMk/>
            <pc:sldMk cId="1560168725" sldId="2145705825"/>
            <ac:spMk id="11" creationId="{25E81FC6-C68E-4626-A0AE-D2286856040B}"/>
          </ac:spMkLst>
        </pc:spChg>
      </pc:sld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1926264294" sldId="2147483690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2018952863" sldId="214748369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919773169" sldId="2147483698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4166875473" sldId="214748370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1671691527" sldId="214748370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3332831072" sldId="214748370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918560869" sldId="214748370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2690563648" sldId="2147483707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1815210469" sldId="2147483709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2703812371" sldId="214748371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981912811" sldId="214748371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3609714817" sldId="214748371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1926264294" sldId="2147483690"/>
            <pc:sldLayoutMk cId="2462473103" sldId="2147483768"/>
          </pc:sldLayoutMkLst>
        </pc:sldLayoutChg>
      </pc:sldMaster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3120708651" sldId="2147483699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1439987557" sldId="214748365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1712851452" sldId="214748365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2019594675" sldId="214748365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718390390" sldId="214748376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2433231357" sldId="214748376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4040368481" sldId="214748376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3392470090" sldId="214748376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1994584163" sldId="2147483765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3872926442" sldId="214748376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120708651" sldId="2147483699"/>
            <pc:sldLayoutMk cId="2958741558" sldId="2147483767"/>
          </pc:sldLayoutMkLst>
        </pc:sldLayoutChg>
      </pc:sldMaster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2386361133" sldId="2147483713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46126219" sldId="214748371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1553202518" sldId="2147483715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3666761118" sldId="214748371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1615630770" sldId="2147483717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3517038353" sldId="2147483718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906006219" sldId="2147483719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94128520" sldId="214748372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118309086" sldId="214748372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3160757573" sldId="214748372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1695839341" sldId="214748372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386361133" sldId="2147483713"/>
            <pc:sldLayoutMk cId="2163331693" sldId="2147483724"/>
          </pc:sldLayoutMkLst>
        </pc:sldLayoutChg>
      </pc:sldMaster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2573404303" sldId="2147483725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4268886014" sldId="214748372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3202039822" sldId="2147483727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622308495" sldId="2147483728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3421953335" sldId="2147483729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2687108610" sldId="214748373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2470480163" sldId="214748373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355551968" sldId="214748373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2191336537" sldId="214748373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2621157585" sldId="214748373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1350639746" sldId="2147483735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73404303" sldId="2147483725"/>
            <pc:sldLayoutMk cId="186767302" sldId="2147483736"/>
          </pc:sldLayoutMkLst>
        </pc:sldLayoutChg>
      </pc:sldMaster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3976151689" sldId="2147483737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521585452" sldId="2147483738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4189174282" sldId="2147483739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4090882936" sldId="214748374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535079076" sldId="214748374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316413789" sldId="214748374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980799537" sldId="214748374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3390435899" sldId="214748374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4087975021" sldId="2147483745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3384863613" sldId="214748374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1776667087" sldId="2147483747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3976151689" sldId="2147483737"/>
            <pc:sldLayoutMk cId="2023807399" sldId="2147483748"/>
          </pc:sldLayoutMkLst>
        </pc:sldLayoutChg>
      </pc:sldMasterChg>
      <pc:sldMasterChg chg="modTransition modSldLayout">
        <pc:chgData name="Hannah Gauditz" userId="6095a0c5228b3b8d" providerId="LiveId" clId="{B2A29AFE-A7B3-4773-8BB8-56487809D711}" dt="2023-11-21T20:27:24.021" v="14615"/>
        <pc:sldMasterMkLst>
          <pc:docMk/>
          <pc:sldMasterMk cId="2557265860" sldId="2147483749"/>
        </pc:sldMasterMkLst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3969182417" sldId="2147483750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3299202200" sldId="2147483751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1951046185" sldId="2147483752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1747743522" sldId="2147483753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2633413038" sldId="2147483754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1847178301" sldId="2147483755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933761007" sldId="2147483756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3451992022" sldId="2147483757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950487974" sldId="2147483758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696102837" sldId="2147483759"/>
          </pc:sldLayoutMkLst>
        </pc:sldLayoutChg>
        <pc:sldLayoutChg chg="modTransition">
          <pc:chgData name="Hannah Gauditz" userId="6095a0c5228b3b8d" providerId="LiveId" clId="{B2A29AFE-A7B3-4773-8BB8-56487809D711}" dt="2023-11-21T20:27:24.021" v="14615"/>
          <pc:sldLayoutMkLst>
            <pc:docMk/>
            <pc:sldMasterMk cId="2557265860" sldId="2147483749"/>
            <pc:sldLayoutMk cId="4284688827" sldId="21474837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84E330B8-E1E3-4FA7-9218-EF0D942426CD}" type="datetimeFigureOut">
              <a:rPr lang="en-GB" smtClean="0"/>
              <a:pPr/>
              <a:t>22/11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2C246FC3-9EC4-40C0-BA00-570A2708BE3E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1pPr>
    <a:lvl2pPr marL="457165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2pPr>
    <a:lvl3pPr marL="91433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3pPr>
    <a:lvl4pPr marL="1371496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4pPr>
    <a:lvl5pPr marL="1828661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5pPr>
    <a:lvl6pPr marL="228582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2.emf"/><Relationship Id="rId9" Type="http://schemas.openxmlformats.org/officeDocument/2006/relationships/image" Target="../media/image2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25.svg"/><Relationship Id="rId5" Type="http://schemas.openxmlformats.org/officeDocument/2006/relationships/image" Target="../media/image19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26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27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.emf"/><Relationship Id="rId9" Type="http://schemas.openxmlformats.org/officeDocument/2006/relationships/image" Target="../media/image32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4.svg"/><Relationship Id="rId5" Type="http://schemas.openxmlformats.org/officeDocument/2006/relationships/image" Target="../media/image28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35.png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36.png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2.emf"/><Relationship Id="rId9" Type="http://schemas.openxmlformats.org/officeDocument/2006/relationships/image" Target="../media/image4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6" Type="http://schemas.openxmlformats.org/officeDocument/2006/relationships/image" Target="../media/image43.svg"/><Relationship Id="rId5" Type="http://schemas.openxmlformats.org/officeDocument/2006/relationships/image" Target="../media/image37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5" Type="http://schemas.openxmlformats.org/officeDocument/2006/relationships/image" Target="../media/image44.png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5" Type="http://schemas.openxmlformats.org/officeDocument/2006/relationships/image" Target="../media/image45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4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2.emf"/><Relationship Id="rId9" Type="http://schemas.openxmlformats.org/officeDocument/2006/relationships/image" Target="../media/image50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6" Type="http://schemas.openxmlformats.org/officeDocument/2006/relationships/image" Target="../media/image52.svg"/><Relationship Id="rId5" Type="http://schemas.openxmlformats.org/officeDocument/2006/relationships/image" Target="../media/image46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5" Type="http://schemas.openxmlformats.org/officeDocument/2006/relationships/image" Target="../media/image53.png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5" Type="http://schemas.openxmlformats.org/officeDocument/2006/relationships/image" Target="../media/image54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95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20719"/>
            <a:ext cx="10363196" cy="103631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81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977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47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4762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888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4762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203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B16FC31-CD9D-7B01-1091-43FAEB00261F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30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B3C78F9-10A8-0DB7-7D20-08DA2C65AB30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95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bg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10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tx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48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55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9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133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7143" y="-2919600"/>
            <a:ext cx="10351714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15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6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063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76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2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0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426370F-BEA9-6E80-BB5E-CFAB2047888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676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13AE4F2-209F-ADE8-3D29-A4EBE2112691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63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703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1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00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A36950B-2EB2-E0A7-CB7A-9F45DF0E082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7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12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30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7143" y="-2919600"/>
            <a:ext cx="10351714" cy="10364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75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6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583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6333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58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17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39360C1-4CAD-16EA-CFA7-C583DDFD10A7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88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6A09372D-7C1F-86DD-E951-3B7726E1EFA2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07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4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1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0B232AF7-9A1C-4DC5-26B3-F432A9AB5831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83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3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79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043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797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7303" y="-2909440"/>
            <a:ext cx="10351714" cy="103643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86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5" cy="1035051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666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38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18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5778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20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FAAFAFB-6163-D4B3-3FCB-F27EE30DAF54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04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4E258D1-D4AF-6BA9-EEB1-6ADF4D78555F}"/>
              </a:ext>
            </a:extLst>
          </p:cNvPr>
          <p:cNvSpPr/>
          <p:nvPr userDrawn="1"/>
        </p:nvSpPr>
        <p:spPr>
          <a:xfrm>
            <a:off x="0" y="539996"/>
            <a:ext cx="5940000" cy="57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74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bg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91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k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6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341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accent5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17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376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199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7303" y="-2896762"/>
            <a:ext cx="10351714" cy="103390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48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4263" y="-2914377"/>
            <a:ext cx="10363195" cy="103505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61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468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498867F5-AE6A-7CE1-123E-016B94631A8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6758" y="1619999"/>
            <a:ext cx="540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5400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2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059D7D0-D2CF-DC09-1AD8-6931451DFDD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721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789E030F-9C85-2BA1-02DF-60428DE2AD2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34438" y="1619999"/>
            <a:ext cx="3456000" cy="44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5874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0A6C8CEB-9932-1E9F-98C4-85461EA7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01276CD-1DD3-96BD-4176-8A87498CDA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1pPr>
            <a:lvl2pPr marL="800108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2pPr>
            <a:lvl3pPr marL="1257315" indent="-342900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3pPr>
            <a:lvl4pPr marL="1600225" indent="-228603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4pPr>
            <a:lvl5pPr marL="2057433" indent="-228603">
              <a:buClr>
                <a:schemeClr val="tx2"/>
              </a:buClr>
              <a:buFont typeface="+mj-lt"/>
              <a:buAutoNum type="arabicPeriod"/>
              <a:defRPr sz="18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5" name="Gerader Verbinder 3">
            <a:extLst>
              <a:ext uri="{FF2B5EF4-FFF2-40B4-BE49-F238E27FC236}">
                <a16:creationId xmlns:a16="http://schemas.microsoft.com/office/drawing/2014/main" id="{9EB5F65E-C73B-B9A0-F5C6-7BDD8DE606D7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71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600" y="540000"/>
            <a:ext cx="1038239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39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285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8" y="540000"/>
            <a:ext cx="7168739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716874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11FAB13-1720-9636-3F5D-D4B656F9BB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71944" y="0"/>
            <a:ext cx="4120056" cy="606424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247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9"/>
            <a:ext cx="5727560" cy="44447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59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EE14BF2-DF91-3122-A6A0-7567EFF2839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813" y="0"/>
            <a:ext cx="6084887" cy="6313488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87561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9998"/>
            <a:ext cx="5727560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323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78FE676-FB94-0EEE-168D-E71E0DCA3B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9998" y="1631118"/>
            <a:ext cx="11652001" cy="4176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036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18">
            <a:extLst>
              <a:ext uri="{FF2B5EF4-FFF2-40B4-BE49-F238E27FC236}">
                <a16:creationId xmlns:a16="http://schemas.microsoft.com/office/drawing/2014/main" id="{A91949B9-69CE-DAEC-DCE2-D0AFAE1AD9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91096" y="1979267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DFED5C67-03B8-64F1-4EAF-26FDC337C3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791096" y="4320570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6" name="Bildplatzhalter 18">
            <a:extLst>
              <a:ext uri="{FF2B5EF4-FFF2-40B4-BE49-F238E27FC236}">
                <a16:creationId xmlns:a16="http://schemas.microsoft.com/office/drawing/2014/main" id="{896334D9-0264-F9B8-5DFC-F5FA5C0225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7922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65023413-8E8F-779F-A8C7-48602056DF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7922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8" name="Bildplatzhalter 18">
            <a:extLst>
              <a:ext uri="{FF2B5EF4-FFF2-40B4-BE49-F238E27FC236}">
                <a16:creationId xmlns:a16="http://schemas.microsoft.com/office/drawing/2014/main" id="{EA586A94-1CC6-58D1-A36A-24A448B69C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67356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E55A93AD-58B3-3899-388D-7D9D3A3B5B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7356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4" name="Bildplatzhalter 18">
            <a:extLst>
              <a:ext uri="{FF2B5EF4-FFF2-40B4-BE49-F238E27FC236}">
                <a16:creationId xmlns:a16="http://schemas.microsoft.com/office/drawing/2014/main" id="{3FA6977E-4C35-F430-C62D-7AAE0BBDC9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050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8E91FEC1-80DC-670C-A72B-79ED891219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050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15C59E-31B9-D24C-2CD2-2E55087369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6" y="5097413"/>
            <a:ext cx="11161801" cy="102292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22C89478-FDE7-502A-7220-10E761C785D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8637" y="1979613"/>
            <a:ext cx="1800225" cy="2181225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50439" cy="36227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DA6879E-7BFD-018D-E75C-8F12EA3888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7" y="4320916"/>
            <a:ext cx="1800225" cy="292100"/>
          </a:xfrm>
        </p:spPr>
        <p:txBody>
          <a:bodyPr/>
          <a:lstStyle>
            <a:lvl1pPr marL="11113" indent="0">
              <a:buNone/>
              <a:tabLst/>
              <a:defRPr sz="1400"/>
            </a:lvl1pPr>
            <a:lvl2pPr marL="11113" indent="0">
              <a:tabLst/>
              <a:defRPr sz="1400"/>
            </a:lvl2pPr>
            <a:lvl3pPr marL="11113" indent="0">
              <a:tabLst/>
              <a:defRPr sz="1400"/>
            </a:lvl3pPr>
            <a:lvl4pPr marL="11113" indent="0">
              <a:tabLst/>
              <a:defRPr sz="1400"/>
            </a:lvl4pPr>
            <a:lvl5pPr marL="11113" indent="0">
              <a:tabLst/>
              <a:defRPr sz="1400"/>
            </a:lvl5pPr>
          </a:lstStyle>
          <a:p>
            <a:pPr lvl="0"/>
            <a:r>
              <a:rPr lang="de-DE" dirty="0"/>
              <a:t>Titel Name</a:t>
            </a:r>
          </a:p>
        </p:txBody>
      </p:sp>
    </p:spTree>
    <p:extLst>
      <p:ext uri="{BB962C8B-B14F-4D97-AF65-F5344CB8AC3E}">
        <p14:creationId xmlns:p14="http://schemas.microsoft.com/office/powerpoint/2010/main" val="199458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856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21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800" y="-2919600"/>
            <a:ext cx="10364400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56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1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ags" Target="../tags/tag23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oleObject" Target="../embeddings/oleObject2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ags" Target="../tags/tag30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oleObject" Target="../embeddings/oleObject2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7772400" imgH="10058400" progId="TCLayout.ActiveDocument.1">
                  <p:embed/>
                </p:oleObj>
              </mc:Choice>
              <mc:Fallback>
                <p:oleObj name="think-cell Foli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62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3" r:id="rId2"/>
    <p:sldLayoutId id="2147483702" r:id="rId3"/>
    <p:sldLayoutId id="2147483704" r:id="rId4"/>
    <p:sldLayoutId id="2147483711" r:id="rId5"/>
    <p:sldLayoutId id="2147483712" r:id="rId6"/>
    <p:sldLayoutId id="2147483706" r:id="rId7"/>
    <p:sldLayoutId id="2147483709" r:id="rId8"/>
    <p:sldLayoutId id="2147483707" r:id="rId9"/>
    <p:sldLayoutId id="2147483710" r:id="rId10"/>
    <p:sldLayoutId id="2147483698" r:id="rId11"/>
    <p:sldLayoutId id="21474837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340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6361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615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726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22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, 26pt, 1- oder 2-zeilig 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480000"/>
            <a:ext cx="8964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rgbClr val="282827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7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66" r:id="rId2"/>
    <p:sldLayoutId id="2147483767" r:id="rId3"/>
    <p:sldLayoutId id="2147483761" r:id="rId4"/>
    <p:sldLayoutId id="2147483652" r:id="rId5"/>
    <p:sldLayoutId id="2147483764" r:id="rId6"/>
    <p:sldLayoutId id="2147483654" r:id="rId7"/>
    <p:sldLayoutId id="2147483762" r:id="rId8"/>
    <p:sldLayoutId id="2147483763" r:id="rId9"/>
    <p:sldLayoutId id="2147483765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 Medium" panose="02010303040201060303" pitchFamily="2" charset="0"/>
          <a:ea typeface="Red Hat Text Medium" panose="02010303040201060303" pitchFamily="2" charset="0"/>
          <a:cs typeface="Red Hat Text Medium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5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4" Type="http://schemas.openxmlformats.org/officeDocument/2006/relationships/image" Target="../media/image5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7.xml"/><Relationship Id="rId4" Type="http://schemas.openxmlformats.org/officeDocument/2006/relationships/image" Target="../media/image5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8.xml"/><Relationship Id="rId5" Type="http://schemas.openxmlformats.org/officeDocument/2006/relationships/image" Target="../media/image59.png"/><Relationship Id="rId4" Type="http://schemas.openxmlformats.org/officeDocument/2006/relationships/image" Target="../media/image5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4" Type="http://schemas.openxmlformats.org/officeDocument/2006/relationships/image" Target="../media/image5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0.xml"/><Relationship Id="rId4" Type="http://schemas.openxmlformats.org/officeDocument/2006/relationships/image" Target="../media/image5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1.xml"/><Relationship Id="rId4" Type="http://schemas.openxmlformats.org/officeDocument/2006/relationships/image" Target="../media/image5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52.xml"/><Relationship Id="rId4" Type="http://schemas.openxmlformats.org/officeDocument/2006/relationships/image" Target="../media/image5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5" Type="http://schemas.openxmlformats.org/officeDocument/2006/relationships/image" Target="../media/image60.png"/><Relationship Id="rId4" Type="http://schemas.openxmlformats.org/officeDocument/2006/relationships/image" Target="../media/image5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4" Type="http://schemas.openxmlformats.org/officeDocument/2006/relationships/image" Target="../media/image5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0.xml"/><Relationship Id="rId4" Type="http://schemas.openxmlformats.org/officeDocument/2006/relationships/image" Target="../media/image5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1.xml"/><Relationship Id="rId4" Type="http://schemas.openxmlformats.org/officeDocument/2006/relationships/image" Target="../media/image5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4" Type="http://schemas.openxmlformats.org/officeDocument/2006/relationships/image" Target="../media/image5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3.xml"/><Relationship Id="rId4" Type="http://schemas.openxmlformats.org/officeDocument/2006/relationships/image" Target="../media/image5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4.x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4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5.xml"/><Relationship Id="rId4" Type="http://schemas.openxmlformats.org/officeDocument/2006/relationships/image" Target="../media/image5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00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ng upcoming information in native-language and non-native-language auditory word recognition</a:t>
            </a:r>
            <a:endParaRPr lang="de-DE" sz="2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EFBBA45-155F-DF32-2F79-49E17A29E7ED}"/>
              </a:ext>
            </a:extLst>
          </p:cNvPr>
          <p:cNvSpPr/>
          <p:nvPr/>
        </p:nvSpPr>
        <p:spPr>
          <a:xfrm>
            <a:off x="540000" y="5509129"/>
            <a:ext cx="2856343" cy="10617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/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annah Gauditz</a:t>
            </a: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inguistics and Language Processing: </a:t>
            </a: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ab Rotation Eye-Tracking</a:t>
            </a: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22-11-2023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95E96E-148E-4FFA-73CB-2BD13AEAE899}"/>
              </a:ext>
            </a:extLst>
          </p:cNvPr>
          <p:cNvSpPr txBox="1">
            <a:spLocks/>
          </p:cNvSpPr>
          <p:nvPr/>
        </p:nvSpPr>
        <p:spPr>
          <a:xfrm>
            <a:off x="540000" y="3996067"/>
            <a:ext cx="4736986" cy="25130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jkgraaf</a:t>
            </a:r>
            <a:r>
              <a:rPr lang="de-DE" sz="1600" cap="none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A., </a:t>
            </a:r>
            <a:r>
              <a:rPr lang="de-DE" sz="1600" cap="none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artsuiker</a:t>
            </a:r>
            <a:r>
              <a:rPr lang="de-DE" sz="1600" cap="none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R. &amp; </a:t>
            </a:r>
            <a:r>
              <a:rPr lang="de-DE" sz="1600" cap="none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uyck</a:t>
            </a:r>
            <a:r>
              <a:rPr lang="de-DE" sz="1600" cap="none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W. (2016)</a:t>
            </a:r>
          </a:p>
        </p:txBody>
      </p:sp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3E2960E3-1167-F92D-9F2B-3DBDF42FD52A}"/>
              </a:ext>
            </a:extLst>
          </p:cNvPr>
          <p:cNvCxnSpPr>
            <a:cxnSpLocks/>
          </p:cNvCxnSpPr>
          <p:nvPr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4B96D054-1A04-0E2F-B68A-96E4780C683C}"/>
              </a:ext>
            </a:extLst>
          </p:cNvPr>
          <p:cNvSpPr txBox="1"/>
          <p:nvPr/>
        </p:nvSpPr>
        <p:spPr>
          <a:xfrm>
            <a:off x="-484094" y="34424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42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4679999" y="539999"/>
            <a:ext cx="6947997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marR="0" lvl="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tabLst/>
              <a:defRPr/>
            </a:pPr>
            <a:r>
              <a:rPr lang="da-DK" sz="2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Analysis &amp; Results</a:t>
            </a:r>
            <a:endParaRPr kumimoji="0" lang="da-DK" sz="26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  <a:sym typeface="Montserrat" panose="00000500000000000000" pitchFamily="2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B36F062C-03C4-16E1-D794-87F17DB58715}"/>
              </a:ext>
            </a:extLst>
          </p:cNvPr>
          <p:cNvSpPr txBox="1">
            <a:spLocks/>
          </p:cNvSpPr>
          <p:nvPr/>
        </p:nvSpPr>
        <p:spPr>
          <a:xfrm>
            <a:off x="1" y="557999"/>
            <a:ext cx="4348708" cy="55620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a-DK" sz="250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826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atistical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alysi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  <a:endParaRPr lang="de-DE" sz="1400" b="1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xclus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rr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ansl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18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i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</a:t>
            </a: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frame: 350ms after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se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- 200ms after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u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set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50ms tim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verag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v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ubjects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tem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ddition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rs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400ms of time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ra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ggreg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100ms tim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es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ff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per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roup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ear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x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ffec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de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dom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tor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articipa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mage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tor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block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en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type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t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vs.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ou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xTAL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ore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es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ffect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English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ficiency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nalysis &amp;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sult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77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1"/>
            <a:ext cx="11364913" cy="174232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ndings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gnificant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igh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rate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straining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neutral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</a:t>
            </a:r>
            <a:r>
              <a:rPr kumimoji="0" lang="de-DE" sz="1400" i="0" u="none" strike="noStrike" kern="1200" cap="none" spc="0" normalizeH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por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iver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efor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a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u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se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time</a:t>
            </a: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abl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agnitud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withi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tera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etwee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/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en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type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ff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ficiency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pcom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form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ight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ow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nalysis &amp;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sult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CDA95DC3-9427-8E0F-95E6-A805AB823A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14" t="2023" r="2462" b="13894"/>
          <a:stretch/>
        </p:blipFill>
        <p:spPr>
          <a:xfrm>
            <a:off x="1221193" y="3429000"/>
            <a:ext cx="9797612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2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4679999" y="539999"/>
            <a:ext cx="6947997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marR="0" lvl="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tabLst/>
              <a:defRPr/>
            </a:pPr>
            <a:r>
              <a:rPr kumimoji="0" lang="da-DK" sz="2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Discussion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B36F062C-03C4-16E1-D794-87F17DB58715}"/>
              </a:ext>
            </a:extLst>
          </p:cNvPr>
          <p:cNvSpPr txBox="1">
            <a:spLocks/>
          </p:cNvSpPr>
          <p:nvPr/>
        </p:nvSpPr>
        <p:spPr>
          <a:xfrm>
            <a:off x="1" y="557999"/>
            <a:ext cx="4348708" cy="55620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a-DK" sz="250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93829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1669629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terpretation &amp;</a:t>
            </a:r>
            <a:r>
              <a:rPr kumimoji="0" lang="de-DE" sz="1400" b="1" i="0" u="none" strike="noStrike" kern="1200" cap="none" spc="0" normalizeH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b="1" i="0" u="none" strike="noStrike" kern="1200" cap="none" spc="0" normalizeH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lacement</a:t>
            </a:r>
            <a:r>
              <a:rPr kumimoji="0" lang="de-DE" sz="1400" b="1" i="0" u="none" strike="noStrike" kern="1200" cap="none" spc="0" normalizeH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</a:t>
            </a:r>
            <a:r>
              <a:rPr kumimoji="0" lang="de-DE" sz="1400" b="1" i="0" u="none" strike="noStrike" kern="1200" cap="none" spc="0" normalizeH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teratur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  <a:endParaRPr lang="de-DE" sz="1400" b="1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mantic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pcom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pu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milar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native and non-nativ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rehens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ight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different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siste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ak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ink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ypothese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dul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ff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L2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tor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soci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n-nativ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ficiency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i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L2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ossib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ilit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milarit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scussion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0C3B173B-9CE6-C5F0-D2ED-FB5B8DA22E4E}"/>
              </a:ext>
            </a:extLst>
          </p:cNvPr>
          <p:cNvSpPr txBox="1"/>
          <p:nvPr/>
        </p:nvSpPr>
        <p:spPr>
          <a:xfrm>
            <a:off x="539999" y="3568372"/>
            <a:ext cx="11073319" cy="1063561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mitation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  <a:endParaRPr lang="de-DE" sz="1400" b="1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ck of power in bilingu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roup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dic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ec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rat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F7A512D-BD2B-8AE0-AFF1-5EF20D5069A3}"/>
              </a:ext>
            </a:extLst>
          </p:cNvPr>
          <p:cNvSpPr txBox="1"/>
          <p:nvPr/>
        </p:nvSpPr>
        <p:spPr>
          <a:xfrm>
            <a:off x="539999" y="4910676"/>
            <a:ext cx="11160000" cy="11033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uture </a:t>
            </a: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earch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d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hic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ircumstanc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v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tain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L2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he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i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a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creas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ecreas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bilit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mantic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form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o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L2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ow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d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s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reng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non-nativ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ccen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ff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L1 and L2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03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A44AE5C-838A-250E-E48A-DF48CD4BAF47}"/>
              </a:ext>
            </a:extLst>
          </p:cNvPr>
          <p:cNvSpPr/>
          <p:nvPr/>
        </p:nvSpPr>
        <p:spPr>
          <a:xfrm>
            <a:off x="-16914" y="-1"/>
            <a:ext cx="12208914" cy="1438255"/>
          </a:xfrm>
          <a:prstGeom prst="rect">
            <a:avLst/>
          </a:prstGeom>
          <a:solidFill>
            <a:srgbClr val="042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83339" y="2115706"/>
            <a:ext cx="11073319" cy="3686834"/>
          </a:xfrm>
          <a:prstGeom prst="roundRect">
            <a:avLst/>
          </a:prstGeom>
          <a:noFill/>
          <a:ln w="57150" cap="rnd">
            <a:solidFill>
              <a:srgbClr val="042C58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1073319"/>
                      <a:gd name="connsiteY0" fmla="*/ 0 h 3686834"/>
                      <a:gd name="connsiteX1" fmla="*/ 11073319 w 11073319"/>
                      <a:gd name="connsiteY1" fmla="*/ 0 h 3686834"/>
                      <a:gd name="connsiteX2" fmla="*/ 11073319 w 11073319"/>
                      <a:gd name="connsiteY2" fmla="*/ 3686834 h 3686834"/>
                      <a:gd name="connsiteX3" fmla="*/ 0 w 11073319"/>
                      <a:gd name="connsiteY3" fmla="*/ 3686834 h 3686834"/>
                      <a:gd name="connsiteX4" fmla="*/ 0 w 11073319"/>
                      <a:gd name="connsiteY4" fmla="*/ 0 h 3686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73319" h="3686834" extrusionOk="0">
                        <a:moveTo>
                          <a:pt x="0" y="0"/>
                        </a:moveTo>
                        <a:cubicBezTo>
                          <a:pt x="3584831" y="118645"/>
                          <a:pt x="9439423" y="116012"/>
                          <a:pt x="11073319" y="0"/>
                        </a:cubicBezTo>
                        <a:cubicBezTo>
                          <a:pt x="10940437" y="922034"/>
                          <a:pt x="11158270" y="2532878"/>
                          <a:pt x="11073319" y="3686834"/>
                        </a:cubicBezTo>
                        <a:cubicBezTo>
                          <a:pt x="6122980" y="3821434"/>
                          <a:pt x="3441946" y="3529638"/>
                          <a:pt x="0" y="3686834"/>
                        </a:cubicBezTo>
                        <a:cubicBezTo>
                          <a:pt x="-20187" y="2551915"/>
                          <a:pt x="-152480" y="156992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0" tIns="0" rIns="14400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pic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v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non-native and native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rehensio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thod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VWP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straining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eutral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escriptive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cording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ye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vements</a:t>
            </a: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ult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creased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rate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ward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straining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dition</a:t>
            </a: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milar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cros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ener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ype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aker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ink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ypothesi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ightly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ower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6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Conclusio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: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Proficient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bilingual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us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verb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semantic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in non-native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listening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o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restrict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h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expected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domai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of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referent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o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h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same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extent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a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bilingual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and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monolinguals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do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when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listening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o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heir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native </a:t>
            </a:r>
            <a:r>
              <a:rPr lang="de-DE" sz="16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language</a:t>
            </a:r>
            <a:r>
              <a:rPr lang="de-DE" sz="16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.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Take-Home Message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rgbClr val="FFFF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196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C00FAC76-9FF7-DD23-7E3A-EB553F54D96C}"/>
              </a:ext>
            </a:extLst>
          </p:cNvPr>
          <p:cNvSpPr/>
          <p:nvPr/>
        </p:nvSpPr>
        <p:spPr>
          <a:xfrm>
            <a:off x="0" y="1643604"/>
            <a:ext cx="12192000" cy="43323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13CE049-57CF-568D-92EB-1712C5D4D811}"/>
              </a:ext>
            </a:extLst>
          </p:cNvPr>
          <p:cNvSpPr txBox="1"/>
          <p:nvPr/>
        </p:nvSpPr>
        <p:spPr>
          <a:xfrm>
            <a:off x="541337" y="2108200"/>
            <a:ext cx="11158662" cy="3227729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R="0" lvl="0" defTabSz="914400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tabLst/>
              <a:defRPr/>
            </a:pP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ijkgraaf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A.,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artsuiker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R., &amp;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Duyck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W. (2017).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redicting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upcoming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information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in native-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anguage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and non-native-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anguage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auditory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word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cognition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. </a:t>
            </a:r>
            <a:r>
              <a:rPr lang="de-DE" sz="1400" i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Bilingualism</a:t>
            </a:r>
            <a:r>
              <a:rPr lang="de-DE" sz="1400" i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: Language and </a:t>
            </a:r>
            <a:r>
              <a:rPr lang="de-DE" sz="1400" i="1" dirty="0" err="1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Cognition</a:t>
            </a:r>
            <a:r>
              <a:rPr lang="de-DE" sz="1400" i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, 20</a:t>
            </a:r>
            <a:r>
              <a:rPr lang="de-DE" sz="14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(5), 917-930. doi:10.1017/S1366728916000547 </a:t>
            </a:r>
          </a:p>
          <a:p>
            <a:pPr marR="0" lvl="0" defTabSz="914400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tabLst/>
              <a:defRPr/>
            </a:pPr>
            <a:endParaRPr lang="de-DE" sz="1600" b="1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pPr marR="0" lvl="0" defTabSz="914400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tabLst/>
              <a:defRPr/>
            </a:pPr>
            <a:endParaRPr lang="de-DE" sz="16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31">
            <a:extLst>
              <a:ext uri="{FF2B5EF4-FFF2-40B4-BE49-F238E27FC236}">
                <a16:creationId xmlns:a16="http://schemas.microsoft.com/office/drawing/2014/main" id="{414BB571-5BE6-8C02-E655-814865232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AC10700E-6351-6EB0-3259-07A4A8BCF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ferences</a:t>
            </a:r>
            <a:endParaRPr lang="de-DE" sz="2000" dirty="0">
              <a:solidFill>
                <a:schemeClr val="bg2"/>
              </a:solidFill>
            </a:endParaRPr>
          </a:p>
        </p:txBody>
      </p:sp>
      <p:cxnSp>
        <p:nvCxnSpPr>
          <p:cNvPr id="10" name="Gerader Verbinder 3">
            <a:extLst>
              <a:ext uri="{FF2B5EF4-FFF2-40B4-BE49-F238E27FC236}">
                <a16:creationId xmlns:a16="http://schemas.microsoft.com/office/drawing/2014/main" id="{4AD8CE05-89EB-09CE-8FF6-833FB0B6FBFB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451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88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da-DK" sz="2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k</a:t>
            </a: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b="1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you</a:t>
            </a: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!</a:t>
            </a:r>
            <a:endParaRPr lang="de-DE" sz="2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230FAA6-25A2-7151-D0C6-D63D664866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029" y="5400484"/>
            <a:ext cx="699971" cy="70485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99E4632-1C91-9829-5186-36BC352B5ED8}"/>
              </a:ext>
            </a:extLst>
          </p:cNvPr>
          <p:cNvSpPr/>
          <p:nvPr/>
        </p:nvSpPr>
        <p:spPr>
          <a:xfrm>
            <a:off x="540000" y="5509129"/>
            <a:ext cx="2856343" cy="10617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/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annah Gauditz</a:t>
            </a: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inguistics and Language Processing: </a:t>
            </a: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Lab Rotation Eye-Tracking</a:t>
            </a:r>
          </a:p>
          <a:p>
            <a:endParaRPr lang="en-US" sz="12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r>
              <a:rPr lang="en-US" sz="12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22-11-2023</a:t>
            </a:r>
          </a:p>
        </p:txBody>
      </p:sp>
    </p:spTree>
    <p:extLst>
      <p:ext uri="{BB962C8B-B14F-4D97-AF65-F5344CB8AC3E}">
        <p14:creationId xmlns:p14="http://schemas.microsoft.com/office/powerpoint/2010/main" val="66752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ABCFA-3E0B-F4E6-B231-5168EA7C2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of 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B89CC9E-0B27-58AE-7E0E-8AB19B9346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Introduction</a:t>
            </a:r>
          </a:p>
          <a:p>
            <a:pPr lvl="1">
              <a:buFont typeface="+mj-lt"/>
              <a:buAutoNum type="alphaLcPeriod"/>
            </a:pPr>
            <a:r>
              <a:rPr lang="da-DK" sz="1600" dirty="0"/>
              <a:t>Relevant Topics</a:t>
            </a:r>
          </a:p>
          <a:p>
            <a:pPr lvl="1">
              <a:buAutoNum type="alphaLcPeriod"/>
            </a:pPr>
            <a:r>
              <a:rPr lang="da-DK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Goals, Research </a:t>
            </a:r>
            <a:r>
              <a:rPr lang="da-DK" sz="1600" dirty="0"/>
              <a:t>Q</a:t>
            </a:r>
            <a:r>
              <a:rPr lang="da-DK" sz="1600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uestions, Hypotheses</a:t>
            </a:r>
          </a:p>
          <a:p>
            <a:r>
              <a:rPr lang="da-DK" sz="1600" dirty="0"/>
              <a:t>Methods</a:t>
            </a:r>
          </a:p>
          <a:p>
            <a:pPr lvl="1">
              <a:buFont typeface="+mj-lt"/>
              <a:buAutoNum type="alphaLcPeriod"/>
            </a:pPr>
            <a:r>
              <a:rPr lang="da-DK" sz="1600" dirty="0"/>
              <a:t>Participants</a:t>
            </a:r>
          </a:p>
          <a:p>
            <a:pPr lvl="1">
              <a:buAutoNum type="alphaLcPeriod"/>
            </a:pPr>
            <a:r>
              <a:rPr lang="da-DK" sz="1600" dirty="0"/>
              <a:t>Visual World Paradigm</a:t>
            </a:r>
          </a:p>
          <a:p>
            <a:pPr lvl="1">
              <a:buAutoNum type="alphaLcPeriod"/>
            </a:pPr>
            <a:r>
              <a:rPr lang="da-DK" sz="1600" dirty="0"/>
              <a:t>Procedure</a:t>
            </a:r>
          </a:p>
          <a:p>
            <a:r>
              <a:rPr lang="da-DK" sz="1600" dirty="0"/>
              <a:t>Analysis &amp; Results </a:t>
            </a:r>
          </a:p>
          <a:p>
            <a:r>
              <a:rPr lang="da-DK" sz="1600" dirty="0"/>
              <a:t>Discussion </a:t>
            </a:r>
          </a:p>
          <a:p>
            <a:pPr lvl="1">
              <a:buAutoNum type="alphaLcPeriod"/>
            </a:pPr>
            <a:endParaRPr lang="da-DK" sz="1600" dirty="0"/>
          </a:p>
          <a:p>
            <a:endParaRPr lang="da-DK" sz="16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64019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4679999" y="539999"/>
            <a:ext cx="6947997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marR="0" lvl="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tabLst/>
              <a:defRPr/>
            </a:pPr>
            <a:r>
              <a:rPr kumimoji="0" lang="da-DK" sz="2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Introduction</a:t>
            </a:r>
          </a:p>
          <a:p>
            <a:pPr marL="800108" marR="0" lvl="1" indent="-34290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sym typeface="Montserrat" panose="00000500000000000000" pitchFamily="2" charset="0"/>
              </a:rPr>
              <a:t>Relevant Topics</a:t>
            </a:r>
          </a:p>
          <a:p>
            <a:pPr marL="800108" marR="0" lvl="1" indent="-34290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Goals, Research </a:t>
            </a:r>
            <a:r>
              <a:rPr lang="da-DK" sz="20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Q</a:t>
            </a: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uestions, Hypotheses</a:t>
            </a:r>
          </a:p>
          <a:p>
            <a:pPr marL="514350" indent="-514350">
              <a:lnSpc>
                <a:spcPct val="100000"/>
              </a:lnSpc>
              <a:buFont typeface="+mj-lt"/>
              <a:buAutoNum type="alphaLcPeriod"/>
            </a:pPr>
            <a:endParaRPr lang="da-DK" sz="20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B36F062C-03C4-16E1-D794-87F17DB58715}"/>
              </a:ext>
            </a:extLst>
          </p:cNvPr>
          <p:cNvSpPr txBox="1">
            <a:spLocks/>
          </p:cNvSpPr>
          <p:nvPr/>
        </p:nvSpPr>
        <p:spPr>
          <a:xfrm>
            <a:off x="1" y="557999"/>
            <a:ext cx="4348708" cy="55620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a-DK" sz="250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215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4110948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lvl="0" defTabSz="914400">
              <a:spcBef>
                <a:spcPts val="600"/>
              </a:spcBef>
              <a:spcAft>
                <a:spcPts val="600"/>
              </a:spcAft>
              <a:defRPr/>
            </a:pP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rehension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tex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activat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present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rge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or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ilitator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2: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low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s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ccurat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r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ource-consum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a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1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ticipator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behaviour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imila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1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cremental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tegr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ec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?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dul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tor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soci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n-nativ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rehens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(e.g.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w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ak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presenta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exical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competi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)?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depende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o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similarit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of L1 and L2?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depende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o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proficienc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in L2?</a:t>
            </a:r>
          </a:p>
          <a:p>
            <a:pPr marL="1200080" lvl="2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u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verb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semantic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morphosyntactic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featur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a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predi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cu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?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weak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link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hypothesi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hav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les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practic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i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bo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languag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tha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mono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Relevant Topic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13CBF501-3AD6-4178-8662-7BF7E1427214}"/>
              </a:ext>
            </a:extLst>
          </p:cNvPr>
          <p:cNvSpPr txBox="1"/>
          <p:nvPr/>
        </p:nvSpPr>
        <p:spPr>
          <a:xfrm>
            <a:off x="539999" y="2764465"/>
            <a:ext cx="11070754" cy="14247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40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 bldLvl="2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1144459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oal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vestigat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mantic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pcom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form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native and non-nativ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is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etween-participan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vs.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ll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within-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articipan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L1 vs. L2 i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Goals, Research Questions,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Hypothese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13CBF501-3AD6-4178-8662-7BF7E1427214}"/>
              </a:ext>
            </a:extLst>
          </p:cNvPr>
          <p:cNvSpPr txBox="1"/>
          <p:nvPr/>
        </p:nvSpPr>
        <p:spPr>
          <a:xfrm>
            <a:off x="539999" y="2764465"/>
            <a:ext cx="11070754" cy="14247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4AAE424-6B31-5104-8983-45FC02C74A94}"/>
              </a:ext>
            </a:extLst>
          </p:cNvPr>
          <p:cNvSpPr txBox="1"/>
          <p:nvPr/>
        </p:nvSpPr>
        <p:spPr>
          <a:xfrm>
            <a:off x="539999" y="3206532"/>
            <a:ext cx="11070754" cy="10450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search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question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endParaRPr lang="de-DE" sz="1400" b="1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v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cess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ccu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am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xte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he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iste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i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1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ar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en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2?</a:t>
            </a: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s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ame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xten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?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E856F87-8ADF-7632-3F21-43E95728DCF8}"/>
              </a:ext>
            </a:extLst>
          </p:cNvPr>
          <p:cNvSpPr txBox="1"/>
          <p:nvPr/>
        </p:nvSpPr>
        <p:spPr>
          <a:xfrm>
            <a:off x="626680" y="4688958"/>
            <a:ext cx="11073319" cy="14247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ypotheses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 listening in L2 do not predict semantic properties of upcoming referents as fast and to the same extent as when listening in L1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 listening in L1 do not predict semantic input to the same extent as monolinguals do in L1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 with a higher proficiency score show a stronger prediction effect than bilinguals with a lower proficiency score.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05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/>
      <p:bldP spid="5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4679999" y="539999"/>
            <a:ext cx="6947997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marR="0" lvl="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tabLst/>
              <a:defRPr/>
            </a:pPr>
            <a:r>
              <a:rPr kumimoji="0" lang="da-DK" sz="2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Methods</a:t>
            </a:r>
          </a:p>
          <a:p>
            <a:pPr marL="800108" marR="0" lvl="1" indent="-34290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sym typeface="Montserrat" panose="00000500000000000000" pitchFamily="2" charset="0"/>
              </a:rPr>
              <a:t>Participants </a:t>
            </a:r>
          </a:p>
          <a:p>
            <a:pPr marL="800108" marR="0" lvl="1" indent="-34290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buFont typeface="+mj-lt"/>
              <a:buAutoNum type="alphaLcPeriod"/>
              <a:tabLst/>
              <a:defRPr/>
            </a:pPr>
            <a:r>
              <a:rPr lang="da-DK" sz="2000" b="1" dirty="0">
                <a:solidFill>
                  <a:srgbClr val="FFFFFF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Visual World Paradigm</a:t>
            </a:r>
          </a:p>
          <a:p>
            <a:pPr marL="800108" marR="0" lvl="1" indent="-342900" algn="l" defTabSz="914415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69B2E7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  <a:sym typeface="Montserrat" panose="00000500000000000000" pitchFamily="2" charset="0"/>
              </a:rPr>
              <a:t>Procedure </a:t>
            </a:r>
          </a:p>
          <a:p>
            <a:pPr>
              <a:lnSpc>
                <a:spcPct val="100000"/>
              </a:lnSpc>
            </a:pPr>
            <a:endParaRPr lang="pt-BR" sz="2000" dirty="0">
              <a:solidFill>
                <a:srgbClr val="FFFFFF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B36F062C-03C4-16E1-D794-87F17DB58715}"/>
              </a:ext>
            </a:extLst>
          </p:cNvPr>
          <p:cNvSpPr txBox="1">
            <a:spLocks/>
          </p:cNvSpPr>
          <p:nvPr/>
        </p:nvSpPr>
        <p:spPr>
          <a:xfrm>
            <a:off x="1" y="557999"/>
            <a:ext cx="4348708" cy="55620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da-DK" sz="25000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65576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1505970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0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5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ome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25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a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24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year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an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20-41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1: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utc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2/L3: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nglis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xTal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igh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oficienc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sz="16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articipants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F96776A7-8503-B1FB-695C-652AF7AA70E3}"/>
              </a:ext>
            </a:extLst>
          </p:cNvPr>
          <p:cNvSpPr txBox="1"/>
          <p:nvPr/>
        </p:nvSpPr>
        <p:spPr>
          <a:xfrm>
            <a:off x="539999" y="3732031"/>
            <a:ext cx="11207998" cy="8187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no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0 native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aker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English (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4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ome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26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a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20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year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an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18-28)</a:t>
            </a:r>
            <a:endParaRPr lang="de-DE" sz="1400" cap="none" dirty="0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88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141546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imulus </a:t>
            </a: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ts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 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3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6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ictur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rray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wo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utc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anslatio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quivalent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English</a:t>
            </a: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8 experiment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nstraining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eutr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8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ll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ul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pp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wo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hre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bject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sign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o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wo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imulu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st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6875452-2F30-E3E1-77DD-6FE01996EB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51" r="20509" b="7304"/>
          <a:stretch/>
        </p:blipFill>
        <p:spPr>
          <a:xfrm>
            <a:off x="8388187" y="2220062"/>
            <a:ext cx="3095625" cy="2486710"/>
          </a:xfrm>
          <a:prstGeom prst="rect">
            <a:avLst/>
          </a:prstGeom>
          <a:ln w="28575">
            <a:solidFill>
              <a:srgbClr val="282827"/>
            </a:solidFill>
          </a:ln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9" imgH="429" progId="TCLayout.ActiveDocument.1">
                  <p:embed/>
                </p:oleObj>
              </mc:Choice>
              <mc:Fallback>
                <p:oleObj name="think-cell Folie" r:id="rId4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Visual World </a:t>
            </a:r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aradigm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prechblase: oval 6">
            <a:extLst>
              <a:ext uri="{FF2B5EF4-FFF2-40B4-BE49-F238E27FC236}">
                <a16:creationId xmlns:a16="http://schemas.microsoft.com/office/drawing/2014/main" id="{3947A062-EE12-7A77-6B5F-725A76F7512D}"/>
              </a:ext>
            </a:extLst>
          </p:cNvPr>
          <p:cNvSpPr/>
          <p:nvPr/>
        </p:nvSpPr>
        <p:spPr>
          <a:xfrm>
            <a:off x="9935999" y="566922"/>
            <a:ext cx="1946399" cy="1295386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>
                <a:solidFill>
                  <a:srgbClr val="282827"/>
                </a:solidFill>
              </a:rPr>
              <a:t>Mary </a:t>
            </a:r>
            <a:r>
              <a:rPr lang="de-DE" sz="1400" dirty="0" err="1">
                <a:solidFill>
                  <a:srgbClr val="282827"/>
                </a:solidFill>
              </a:rPr>
              <a:t>steals</a:t>
            </a:r>
            <a:r>
              <a:rPr lang="de-DE" sz="1400" dirty="0">
                <a:solidFill>
                  <a:srgbClr val="282827"/>
                </a:solidFill>
              </a:rPr>
              <a:t> a </a:t>
            </a:r>
            <a:r>
              <a:rPr lang="de-DE" sz="1400" dirty="0" err="1">
                <a:solidFill>
                  <a:srgbClr val="282827"/>
                </a:solidFill>
              </a:rPr>
              <a:t>letter</a:t>
            </a:r>
            <a:r>
              <a:rPr lang="de-DE" sz="1400" dirty="0">
                <a:solidFill>
                  <a:srgbClr val="282827"/>
                </a:solidFill>
              </a:rPr>
              <a:t>. </a:t>
            </a:r>
          </a:p>
        </p:txBody>
      </p:sp>
      <p:sp>
        <p:nvSpPr>
          <p:cNvPr id="8" name="Sprechblase: oval 7">
            <a:extLst>
              <a:ext uri="{FF2B5EF4-FFF2-40B4-BE49-F238E27FC236}">
                <a16:creationId xmlns:a16="http://schemas.microsoft.com/office/drawing/2014/main" id="{E589973A-4307-386F-AE1A-D2E41E836B43}"/>
              </a:ext>
            </a:extLst>
          </p:cNvPr>
          <p:cNvSpPr/>
          <p:nvPr/>
        </p:nvSpPr>
        <p:spPr>
          <a:xfrm flipH="1">
            <a:off x="7988327" y="98106"/>
            <a:ext cx="1947672" cy="1295386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>
                <a:solidFill>
                  <a:srgbClr val="282827"/>
                </a:solidFill>
              </a:rPr>
              <a:t>Mary </a:t>
            </a:r>
            <a:r>
              <a:rPr lang="de-DE" sz="1400" dirty="0" err="1">
                <a:solidFill>
                  <a:srgbClr val="282827"/>
                </a:solidFill>
              </a:rPr>
              <a:t>reads</a:t>
            </a:r>
            <a:r>
              <a:rPr lang="de-DE" sz="1400" dirty="0">
                <a:solidFill>
                  <a:srgbClr val="282827"/>
                </a:solidFill>
              </a:rPr>
              <a:t> a </a:t>
            </a:r>
            <a:r>
              <a:rPr lang="de-DE" sz="1400" dirty="0" err="1">
                <a:solidFill>
                  <a:srgbClr val="282827"/>
                </a:solidFill>
              </a:rPr>
              <a:t>letter</a:t>
            </a:r>
            <a:r>
              <a:rPr lang="de-DE" sz="1400" dirty="0">
                <a:solidFill>
                  <a:srgbClr val="282827"/>
                </a:solidFill>
              </a:rPr>
              <a:t>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D581D01-0E23-484C-F5A5-DF9F9CAB8057}"/>
              </a:ext>
            </a:extLst>
          </p:cNvPr>
          <p:cNvSpPr txBox="1"/>
          <p:nvPr/>
        </p:nvSpPr>
        <p:spPr>
          <a:xfrm>
            <a:off x="539999" y="3261971"/>
            <a:ext cx="7644809" cy="141545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ictures:</a:t>
            </a:r>
            <a:endParaRPr lang="de-DE" sz="1400" b="1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ndardiz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i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rawing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jec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ame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atch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or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requenc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honem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unt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yllabl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unt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rthographic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issimilarity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andomiz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c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rray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F0CC390-CC07-1E18-FEC9-E7D16D8C01B0}"/>
              </a:ext>
            </a:extLst>
          </p:cNvPr>
          <p:cNvSpPr txBox="1"/>
          <p:nvPr/>
        </p:nvSpPr>
        <p:spPr>
          <a:xfrm>
            <a:off x="539999" y="4909927"/>
            <a:ext cx="9227811" cy="1412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sz="1400" b="1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s</a:t>
            </a:r>
            <a:r>
              <a:rPr lang="de-DE" sz="1400" b="1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ur-wor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VO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ntence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c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stan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ubjec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a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ticl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ul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ot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s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dictio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ue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cord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emal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native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peaker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utc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English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L2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cording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rame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ffse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–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un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nset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atched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ngth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cross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s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07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5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41337" y="1620000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articipan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r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eat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in front of screen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eceive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ritte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verb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struction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thou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explicit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ask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y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ovemen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righ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y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yelink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1000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y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acke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sampling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requenc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1000 Hz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2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actic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i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2x18 experiment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i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x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ros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500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)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esent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ictur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rray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uditor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imulu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fter 2200ms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rift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rrec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f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ecessary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comple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additional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est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: 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xTAL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utch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,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xTAL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English, LEAP-Q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anguage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ackgroun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questionnaire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dditionally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or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lingual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ackward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ranslation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of English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erbs</a:t>
            </a:r>
            <a:r>
              <a:rPr lang="de-DE" sz="1400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nd </a:t>
            </a:r>
            <a:r>
              <a:rPr lang="de-DE" sz="1400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ouns</a:t>
            </a:r>
            <a:endParaRPr lang="de-DE" sz="1400" dirty="0">
              <a:solidFill>
                <a:srgbClr val="282827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360099"/>
          </a:xfrm>
        </p:spPr>
        <p:txBody>
          <a:bodyPr vert="horz"/>
          <a:lstStyle/>
          <a:p>
            <a:r>
              <a:rPr lang="de-DE" dirty="0" err="1">
                <a:solidFill>
                  <a:schemeClr val="bg2"/>
                </a:solidFill>
                <a:latin typeface="Red Hat Text Medium" panose="02010303040201060303" pitchFamily="2" charset="0"/>
                <a:ea typeface="Red Hat Text Medium" panose="02010303040201060303" pitchFamily="2" charset="0"/>
                <a:cs typeface="Red Hat Text Medium" panose="02010303040201060303" pitchFamily="2" charset="0"/>
              </a:rPr>
              <a:t>Procedure</a:t>
            </a:r>
            <a:endParaRPr lang="de-DE" sz="2000" b="0" dirty="0">
              <a:solidFill>
                <a:schemeClr val="bg2"/>
              </a:solidFill>
              <a:latin typeface="Red Hat Text Medium" panose="02010303040201060303" pitchFamily="2" charset="0"/>
              <a:ea typeface="Red Hat Text Medium" panose="02010303040201060303" pitchFamily="2" charset="0"/>
              <a:cs typeface="Red Hat Text Medium" panose="02010303040201060303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C5060F-F060-0CA1-CFD2-A1E234C35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69F393A-EFED-B542-5BDD-E109E7F0B6C5}"/>
              </a:ext>
            </a:extLst>
          </p:cNvPr>
          <p:cNvCxnSpPr>
            <a:cxnSpLocks/>
          </p:cNvCxnSpPr>
          <p:nvPr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725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20D8EB4D-8054-B043-83FE-6657808EE1BD}"/>
    </a:ext>
  </a:extLst>
</a:theme>
</file>

<file path=ppt/theme/theme2.xml><?xml version="1.0" encoding="utf-8"?>
<a:theme xmlns:a="http://schemas.openxmlformats.org/drawingml/2006/main" name="2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2DADB865-D920-634F-BA6F-E43BE349C5CC}"/>
    </a:ext>
  </a:extLst>
</a:theme>
</file>

<file path=ppt/theme/theme3.xml><?xml version="1.0" encoding="utf-8"?>
<a:theme xmlns:a="http://schemas.openxmlformats.org/drawingml/2006/main" name="1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30740BA5-808B-6F41-9277-4551AF500018}"/>
    </a:ext>
  </a:extLst>
</a:theme>
</file>

<file path=ppt/theme/theme4.xml><?xml version="1.0" encoding="utf-8"?>
<a:theme xmlns:a="http://schemas.openxmlformats.org/drawingml/2006/main" name="3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32BE5EC4-DF78-D542-AB7F-871C9268ED5C}"/>
    </a:ext>
  </a:extLst>
</a:theme>
</file>

<file path=ppt/theme/theme5.xml><?xml version="1.0" encoding="utf-8"?>
<a:theme xmlns:a="http://schemas.openxmlformats.org/drawingml/2006/main" name="4_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6FD416DB-DFD6-444F-8DCA-5FAE3B50AD2D}"/>
    </a:ext>
  </a:extLst>
</a:theme>
</file>

<file path=ppt/theme/theme6.xml><?xml version="1.0" encoding="utf-8"?>
<a:theme xmlns:a="http://schemas.openxmlformats.org/drawingml/2006/main" name="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31007_01_RPTU ppt-template (komplex, red hat)" id="{83977610-DB9E-B142-80BD-4B343CEFE00C}" vid="{9CC88688-15F0-BF4E-B581-636B0A939684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nguistics</Template>
  <TotalTime>0</TotalTime>
  <Words>1044</Words>
  <Application>Microsoft Office PowerPoint</Application>
  <PresentationFormat>Breitbild</PresentationFormat>
  <Paragraphs>158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31" baseType="lpstr">
      <vt:lpstr>Arial</vt:lpstr>
      <vt:lpstr>Avenir Next LT Pro</vt:lpstr>
      <vt:lpstr>Montserrat</vt:lpstr>
      <vt:lpstr>Red Hat Text</vt:lpstr>
      <vt:lpstr>Red Hat Text Medium</vt:lpstr>
      <vt:lpstr>Red Hat Text SemiBold</vt:lpstr>
      <vt:lpstr>Systemschrift Normal</vt:lpstr>
      <vt:lpstr>RPTU-Master Sonderfolien</vt:lpstr>
      <vt:lpstr>2_RPTU-Master Sonderfolien</vt:lpstr>
      <vt:lpstr>1_RPTU-Master Sonderfolien</vt:lpstr>
      <vt:lpstr>3_RPTU-Master Sonderfolien</vt:lpstr>
      <vt:lpstr>4_RPTU-Master Sonderfolien</vt:lpstr>
      <vt:lpstr>RPTUMaster - Inhaltsfolien</vt:lpstr>
      <vt:lpstr>think-cell Folie</vt:lpstr>
      <vt:lpstr>Predicting upcoming information in native-language and non-native-language auditory word recognition</vt:lpstr>
      <vt:lpstr>Table of Content</vt:lpstr>
      <vt:lpstr>PowerPoint-Präsentation</vt:lpstr>
      <vt:lpstr>Relevant Topics</vt:lpstr>
      <vt:lpstr>Goals, Research Questions, Hypotheses</vt:lpstr>
      <vt:lpstr>PowerPoint-Präsentation</vt:lpstr>
      <vt:lpstr>Participants</vt:lpstr>
      <vt:lpstr>Visual World Paradigm</vt:lpstr>
      <vt:lpstr>Procedure</vt:lpstr>
      <vt:lpstr>PowerPoint-Präsentation</vt:lpstr>
      <vt:lpstr>Analysis &amp; Results</vt:lpstr>
      <vt:lpstr>Analysis &amp; Results</vt:lpstr>
      <vt:lpstr>PowerPoint-Präsentation</vt:lpstr>
      <vt:lpstr>Discussion</vt:lpstr>
      <vt:lpstr>Take-Home Message</vt:lpstr>
      <vt:lpstr>References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upcoming information in native-language and non-native-language auditory word recognition</dc:title>
  <dc:subject/>
  <dc:creator>Hannah Gauditz</dc:creator>
  <cp:keywords/>
  <dc:description/>
  <cp:lastModifiedBy>Hannah Gauditz</cp:lastModifiedBy>
  <cp:revision>1</cp:revision>
  <dcterms:created xsi:type="dcterms:W3CDTF">2023-11-11T10:03:03Z</dcterms:created>
  <dcterms:modified xsi:type="dcterms:W3CDTF">2023-11-22T13:09:48Z</dcterms:modified>
  <cp:category/>
</cp:coreProperties>
</file>